
<file path=[Content_Types].xml><?xml version="1.0" encoding="utf-8"?>
<Types xmlns="http://schemas.openxmlformats.org/package/2006/content-types">
  <Default Extension="rels" ContentType="application/vnd.openxmlformats-package.relationships+xml"/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wmf" ContentType="image/x-wmf"/>
  <Default Extension="png" ContentType="image/png"/>
  <Default Extension="emf" ContentType="image/x-emf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&#65279;<?xml version="1.0" encoding="utf-8" standalone="yes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officeDocument/2006/relationships/extended-properties" Target="docProps/app.xml" /><Relationship Id="rId4" Type="http://schemas.openxmlformats.org/package/2006/relationships/metadata/thumbnail" Target="docProps/thumbnail.jpeg" /><Relationship Id="rId5" Type="http://schemas.openxmlformats.org/officeDocument/2006/relationships/custom-properties" Target="docProps/custom.xml" /></Relationships>
</file>

<file path=ppt/presentation.xml><?xml version="1.0" encoding="utf-8"?>
<!--Generated by Aspose.Slides for .NET 15.1.0.0-->
<p:presentation xmlns:r="http://schemas.openxmlformats.org/officeDocument/2006/relationships" xmlns:a="http://schemas.openxmlformats.org/drawingml/2006/main" xmlns:p="http://schemas.openxmlformats.org/presentationml/2006/main" showSpecialPlsOnTitleSld="0" removePersonalInfoOnSave="1">
  <p:sldMasterIdLst>
    <p:sldMasterId id="2147483648" r:id="rId1"/>
  </p:sldMasterIdLst>
  <p:notesMasterIdLst>
    <p:notesMasterId r:id="rId2"/>
  </p:notesMasterIdLst>
  <p:handoutMasterIdLst>
    <p:handoutMasterId r:id="rId3"/>
  </p:handoutMasterIdLst>
  <p:sldIdLst>
    <p:sldId id="470" r:id="rId4"/>
    <p:sldId id="466" r:id="rId5"/>
    <p:sldId id="488" r:id="rId6"/>
    <p:sldId id="494" r:id="rId7"/>
    <p:sldId id="282" r:id="rId8"/>
    <p:sldId id="257" r:id="rId9"/>
    <p:sldId id="382" r:id="rId10"/>
    <p:sldId id="497" r:id="rId11"/>
    <p:sldId id="500" r:id="rId12"/>
    <p:sldId id="503" r:id="rId13"/>
    <p:sldId id="506" r:id="rId14"/>
    <p:sldId id="509" r:id="rId15"/>
    <p:sldId id="512" r:id="rId16"/>
    <p:sldId id="472" r:id="rId17"/>
    <p:sldId id="518" r:id="rId18"/>
    <p:sldId id="521" r:id="rId19"/>
    <p:sldId id="524" r:id="rId20"/>
    <p:sldId id="527" r:id="rId21"/>
    <p:sldId id="530" r:id="rId22"/>
    <p:sldId id="533" r:id="rId23"/>
    <p:sldId id="536" r:id="rId24"/>
    <p:sldId id="539" r:id="rId25"/>
    <p:sldId id="542" r:id="rId26"/>
    <p:sldId id="545" r:id="rId27"/>
    <p:sldId id="551" r:id="rId28"/>
    <p:sldId id="554" r:id="rId29"/>
    <p:sldId id="557" r:id="rId30"/>
    <p:sldId id="560" r:id="rId31"/>
    <p:sldId id="563" r:id="rId32"/>
    <p:sldId id="566" r:id="rId33"/>
    <p:sldId id="569" r:id="rId34"/>
    <p:sldId id="572" r:id="rId35"/>
    <p:sldId id="575" r:id="rId36"/>
    <p:sldId id="578" r:id="rId37"/>
    <p:sldId id="584" r:id="rId38"/>
    <p:sldId id="587" r:id="rId39"/>
    <p:sldId id="590" r:id="rId40"/>
    <p:sldId id="593" r:id="rId41"/>
    <p:sldId id="596" r:id="rId42"/>
    <p:sldId id="599" r:id="rId43"/>
    <p:sldId id="602" r:id="rId44"/>
    <p:sldId id="605" r:id="rId45"/>
    <p:sldId id="608" r:id="rId46"/>
    <p:sldId id="611" r:id="rId47"/>
  </p:sldIdLst>
  <p:sldSz cx="9906000" cy="6858000" type="A4"/>
  <p:notesSz cx="9874250" cy="6742113"/>
  <p:custDataLst>
    <p:tags r:id="rId48"/>
  </p:custDataLst>
  <p:defaultTextStyle>
    <a:defPPr>
      <a:defRPr lang="de-DE">
        <a:effectLst/>
      </a:defRPr>
    </a:defPPr>
    <a:lvl1pPr marL="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F124629-1FF9-40A6-9638-CD275040F820}">
          <p14:sldIdLst>
            <p14:sldId id="470"/>
            <p14:sldId id="466"/>
            <p14:sldId id="473"/>
          </p14:sldIdLst>
        </p14:section>
        <p14:section name="Instruction" id="{3A5CD772-2A52-4E93-A903-79E93299A0AC}">
          <p14:sldIdLst>
            <p14:sldId id="282"/>
            <p14:sldId id="257"/>
            <p14:sldId id="382"/>
            <p14:sldId id="47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94A0"/>
    <a:srgbClr val="C82D20"/>
    <a:srgbClr val="FFD100"/>
    <a:srgbClr val="51AE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5C22544A-7EE6-4342-B048-85BDC9FD1C3A}"/>
</file>

<file path=ppt/viewProps.xml><?xml version="1.0" encoding="utf-8"?>
<p:viewPr xmlns:r="http://schemas.openxmlformats.org/officeDocument/2006/relationships" xmlns:a="http://schemas.openxmlformats.org/drawingml/2006/main" xmlns:p="http://schemas.openxmlformats.org/presentationml/2006/main">
  <p:normalViewPr vertBarState="maximized">
    <p:restoredLeft sz="26054" autoAdjust="0"/>
    <p:restoredTop sz="94694" autoAdjust="0"/>
  </p:normalViewPr>
  <p:slideViewPr>
    <p:cSldViewPr>
      <p:cViewPr varScale="1">
        <p:scale>
          <a:sx n="71" d="100"/>
          <a:sy n="71" d="100"/>
        </p:scale>
        <p:origin x="-636" y="-102"/>
      </p:cViewPr>
      <p:guideLst>
        <p:guide orient="horz" pos="845"/>
        <p:guide orient="horz" pos="1026"/>
        <p:guide orient="horz" pos="346"/>
        <p:guide orient="horz" pos="3920"/>
        <p:guide orient="horz" pos="4146"/>
        <p:guide pos="5751"/>
        <p:guide pos="409"/>
        <p:guide pos="5525"/>
        <p:guide pos="398"/>
      </p:guideLst>
    </p:cSldViewPr>
  </p:slideViewPr>
  <p:outlineViewPr>
    <p:cViewPr>
      <p:scale>
        <a:sx n="33" d="100"/>
        <a:sy n="33" d="100"/>
      </p:scale>
      <p:origin x="0" y="4278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044"/>
    </p:cViewPr>
  </p:sorterViewPr>
  <p:gridSpacing cx="72008" cy="72008"/>
</p:viewPr>
</file>

<file path=ppt/_rels/presentation.xml.rels>&#65279;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 /><Relationship Id="rId10" Type="http://schemas.openxmlformats.org/officeDocument/2006/relationships/slide" Target="slides/slide7.xml" /><Relationship Id="rId11" Type="http://schemas.openxmlformats.org/officeDocument/2006/relationships/slide" Target="slides/slide8.xml" /><Relationship Id="rId12" Type="http://schemas.openxmlformats.org/officeDocument/2006/relationships/slide" Target="slides/slide9.xml" /><Relationship Id="rId13" Type="http://schemas.openxmlformats.org/officeDocument/2006/relationships/slide" Target="slides/slide10.xml" /><Relationship Id="rId14" Type="http://schemas.openxmlformats.org/officeDocument/2006/relationships/slide" Target="slides/slide11.xml" /><Relationship Id="rId15" Type="http://schemas.openxmlformats.org/officeDocument/2006/relationships/slide" Target="slides/slide12.xml" /><Relationship Id="rId16" Type="http://schemas.openxmlformats.org/officeDocument/2006/relationships/slide" Target="slides/slide13.xml" /><Relationship Id="rId17" Type="http://schemas.openxmlformats.org/officeDocument/2006/relationships/slide" Target="slides/slide14.xml" /><Relationship Id="rId18" Type="http://schemas.openxmlformats.org/officeDocument/2006/relationships/slide" Target="slides/slide15.xml" /><Relationship Id="rId19" Type="http://schemas.openxmlformats.org/officeDocument/2006/relationships/slide" Target="slides/slide16.xml" /><Relationship Id="rId2" Type="http://schemas.openxmlformats.org/officeDocument/2006/relationships/notesMaster" Target="notesMasters/notesMaster1.xml" /><Relationship Id="rId20" Type="http://schemas.openxmlformats.org/officeDocument/2006/relationships/slide" Target="slides/slide17.xml" /><Relationship Id="rId21" Type="http://schemas.openxmlformats.org/officeDocument/2006/relationships/slide" Target="slides/slide18.xml" /><Relationship Id="rId22" Type="http://schemas.openxmlformats.org/officeDocument/2006/relationships/slide" Target="slides/slide19.xml" /><Relationship Id="rId23" Type="http://schemas.openxmlformats.org/officeDocument/2006/relationships/slide" Target="slides/slide20.xml" /><Relationship Id="rId24" Type="http://schemas.openxmlformats.org/officeDocument/2006/relationships/slide" Target="slides/slide21.xml" /><Relationship Id="rId25" Type="http://schemas.openxmlformats.org/officeDocument/2006/relationships/slide" Target="slides/slide22.xml" /><Relationship Id="rId26" Type="http://schemas.openxmlformats.org/officeDocument/2006/relationships/slide" Target="slides/slide23.xml" /><Relationship Id="rId27" Type="http://schemas.openxmlformats.org/officeDocument/2006/relationships/slide" Target="slides/slide24.xml" /><Relationship Id="rId28" Type="http://schemas.openxmlformats.org/officeDocument/2006/relationships/slide" Target="slides/slide25.xml" /><Relationship Id="rId29" Type="http://schemas.openxmlformats.org/officeDocument/2006/relationships/slide" Target="slides/slide26.xml" /><Relationship Id="rId3" Type="http://schemas.openxmlformats.org/officeDocument/2006/relationships/handoutMaster" Target="handoutMasters/handoutMaster1.xml" /><Relationship Id="rId30" Type="http://schemas.openxmlformats.org/officeDocument/2006/relationships/slide" Target="slides/slide27.xml" /><Relationship Id="rId31" Type="http://schemas.openxmlformats.org/officeDocument/2006/relationships/slide" Target="slides/slide28.xml" /><Relationship Id="rId32" Type="http://schemas.openxmlformats.org/officeDocument/2006/relationships/slide" Target="slides/slide29.xml" /><Relationship Id="rId33" Type="http://schemas.openxmlformats.org/officeDocument/2006/relationships/slide" Target="slides/slide30.xml" /><Relationship Id="rId34" Type="http://schemas.openxmlformats.org/officeDocument/2006/relationships/slide" Target="slides/slide31.xml" /><Relationship Id="rId35" Type="http://schemas.openxmlformats.org/officeDocument/2006/relationships/slide" Target="slides/slide32.xml" /><Relationship Id="rId36" Type="http://schemas.openxmlformats.org/officeDocument/2006/relationships/slide" Target="slides/slide33.xml" /><Relationship Id="rId37" Type="http://schemas.openxmlformats.org/officeDocument/2006/relationships/slide" Target="slides/slide34.xml" /><Relationship Id="rId38" Type="http://schemas.openxmlformats.org/officeDocument/2006/relationships/slide" Target="slides/slide35.xml" /><Relationship Id="rId39" Type="http://schemas.openxmlformats.org/officeDocument/2006/relationships/slide" Target="slides/slide36.xml" /><Relationship Id="rId4" Type="http://schemas.openxmlformats.org/officeDocument/2006/relationships/slide" Target="slides/slide1.xml" /><Relationship Id="rId40" Type="http://schemas.openxmlformats.org/officeDocument/2006/relationships/slide" Target="slides/slide37.xml" /><Relationship Id="rId41" Type="http://schemas.openxmlformats.org/officeDocument/2006/relationships/slide" Target="slides/slide38.xml" /><Relationship Id="rId42" Type="http://schemas.openxmlformats.org/officeDocument/2006/relationships/slide" Target="slides/slide39.xml" /><Relationship Id="rId43" Type="http://schemas.openxmlformats.org/officeDocument/2006/relationships/slide" Target="slides/slide40.xml" /><Relationship Id="rId44" Type="http://schemas.openxmlformats.org/officeDocument/2006/relationships/slide" Target="slides/slide41.xml" /><Relationship Id="rId45" Type="http://schemas.openxmlformats.org/officeDocument/2006/relationships/slide" Target="slides/slide42.xml" /><Relationship Id="rId46" Type="http://schemas.openxmlformats.org/officeDocument/2006/relationships/slide" Target="slides/slide43.xml" /><Relationship Id="rId47" Type="http://schemas.openxmlformats.org/officeDocument/2006/relationships/slide" Target="slides/slide44.xml" /><Relationship Id="rId48" Type="http://schemas.openxmlformats.org/officeDocument/2006/relationships/tags" Target="tags/tag29.xml" /><Relationship Id="rId49" Type="http://schemas.openxmlformats.org/officeDocument/2006/relationships/presProps" Target="presProps.xml" /><Relationship Id="rId5" Type="http://schemas.openxmlformats.org/officeDocument/2006/relationships/slide" Target="slides/slide2.xml" /><Relationship Id="rId50" Type="http://schemas.openxmlformats.org/officeDocument/2006/relationships/viewProps" Target="viewProps.xml" /><Relationship Id="rId51" Type="http://schemas.openxmlformats.org/officeDocument/2006/relationships/theme" Target="theme/theme1.xml" /><Relationship Id="rId52" Type="http://schemas.openxmlformats.org/officeDocument/2006/relationships/tableStyles" Target="tableStyles.xml" /><Relationship Id="rId6" Type="http://schemas.openxmlformats.org/officeDocument/2006/relationships/slide" Target="slides/slide3.xml" /><Relationship Id="rId7" Type="http://schemas.openxmlformats.org/officeDocument/2006/relationships/slide" Target="slides/slide4.xml" /><Relationship Id="rId8" Type="http://schemas.openxmlformats.org/officeDocument/2006/relationships/slide" Target="slides/slide5.xml" /><Relationship Id="rId9" Type="http://schemas.openxmlformats.org/officeDocument/2006/relationships/slide" Target="slides/slide6.xml" /></Relationships>
</file>

<file path=ppt/_rels/viewProps.xml.rels>&#65279;<?xml version="1.0" encoding="utf-8" standalone="yes"?><Relationships xmlns="http://schemas.openxmlformats.org/package/2006/relationships"><Relationship Id="rId1" Type="http://schemas.openxmlformats.org/officeDocument/2006/relationships/slide" Target="slides/slide1.xml" /><Relationship Id="rId2" Type="http://schemas.openxmlformats.org/officeDocument/2006/relationships/slide" Target="slides/slide5.xml" /><Relationship Id="rId3" Type="http://schemas.openxmlformats.org/officeDocument/2006/relationships/slide" Target="slides/slide6.xml" /><Relationship Id="rId4" Type="http://schemas.openxmlformats.org/officeDocument/2006/relationships/slide" Target="slides/slide7.xml" /></Relationships>
</file>

<file path=ppt/charts/_rels/chart1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.xlsx" /></Relationships>
</file>

<file path=ppt/charts/_rels/chart10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0.xlsx" /></Relationships>
</file>

<file path=ppt/charts/_rels/chart11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1.xlsx" /></Relationships>
</file>

<file path=ppt/charts/_rels/chart12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2.xlsx" /></Relationships>
</file>

<file path=ppt/charts/_rels/chart13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3.xlsx" /></Relationships>
</file>

<file path=ppt/charts/_rels/chart14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4.xlsx" /></Relationships>
</file>

<file path=ppt/charts/_rels/chart15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5.xlsx" /></Relationships>
</file>

<file path=ppt/charts/_rels/chart16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6.xlsx" /></Relationships>
</file>

<file path=ppt/charts/_rels/chart17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7.xlsx" /></Relationships>
</file>

<file path=ppt/charts/_rels/chart18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8.xlsx" /></Relationships>
</file>

<file path=ppt/charts/_rels/chart19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9.xlsx" /></Relationships>
</file>

<file path=ppt/charts/_rels/chart2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2.xlsx" /></Relationships>
</file>

<file path=ppt/charts/_rels/chart20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20.xlsx" /></Relationships>
</file>

<file path=ppt/charts/_rels/chart3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3.xlsx" /></Relationships>
</file>

<file path=ppt/charts/_rels/chart4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4.xlsx" /></Relationships>
</file>

<file path=ppt/charts/_rels/chart5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5.xlsx" /></Relationships>
</file>

<file path=ppt/charts/_rels/chart6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6.xlsx" /></Relationships>
</file>

<file path=ppt/charts/_rels/chart7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7.xlsx" /></Relationships>
</file>

<file path=ppt/charts/_rels/chart8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8.xlsx" /></Relationships>
</file>

<file path=ppt/charts/_rels/chart9.xml.rels>&#65279;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9.xlsx" /></Relationships>
</file>

<file path=ppt/charts/chart1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Europe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7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German:34%</c:v>
                </c:pt>
                <c:pt idx="1">
                  <c:v>French:32%</c:v>
                </c:pt>
                <c:pt idx="2">
                  <c:v>Finnland:23%</c:v>
                </c:pt>
                <c:pt idx="3">
                  <c:v>England:12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7</c:v>
                </c:pt>
                <c:pt idx="1">
                  <c:v>35</c:v>
                </c:pt>
                <c:pt idx="2">
                  <c:v>25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7142859697341919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0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Japanese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6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Kawasaki:36%</c:v>
                </c:pt>
                <c:pt idx="1">
                  <c:v>Tokyo:27%</c:v>
                </c:pt>
                <c:pt idx="2">
                  <c:v>Sapporo:24%</c:v>
                </c:pt>
                <c:pt idx="3">
                  <c:v>Nagoya:13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6</c:v>
                </c:pt>
                <c:pt idx="1">
                  <c:v>27</c:v>
                </c:pt>
                <c:pt idx="2">
                  <c:v>24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1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Tailand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Lampang:31%</c:v>
                </c:pt>
                <c:pt idx="1">
                  <c:v>Chonburi:29%</c:v>
                </c:pt>
                <c:pt idx="2">
                  <c:v>Pattaya:21%</c:v>
                </c:pt>
                <c:pt idx="3">
                  <c:v>Bangkok:19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1</c:v>
                </c:pt>
                <c:pt idx="1">
                  <c:v>29</c:v>
                </c:pt>
                <c:pt idx="2">
                  <c:v>21</c:v>
                </c:pt>
                <c:pt idx="3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2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Malays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8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Johor:48%</c:v>
                </c:pt>
                <c:pt idx="1">
                  <c:v>Kuala:24%</c:v>
                </c:pt>
                <c:pt idx="2">
                  <c:v>Ipoh:16%</c:v>
                </c:pt>
                <c:pt idx="3">
                  <c:v>Kuching:12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48</c:v>
                </c:pt>
                <c:pt idx="1">
                  <c:v>24</c:v>
                </c:pt>
                <c:pt idx="2">
                  <c:v>16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3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Zamb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Kabwe:35%</c:v>
                </c:pt>
                <c:pt idx="1">
                  <c:v>Kitwe:25%</c:v>
                </c:pt>
                <c:pt idx="2">
                  <c:v>Ndola:23%</c:v>
                </c:pt>
                <c:pt idx="3">
                  <c:v>Lusaka:17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5</c:v>
                </c:pt>
                <c:pt idx="1">
                  <c:v>25</c:v>
                </c:pt>
                <c:pt idx="2">
                  <c:v>23</c:v>
                </c:pt>
                <c:pt idx="3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4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Zimbabwe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6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Chitungwiza:36%</c:v>
                </c:pt>
                <c:pt idx="1">
                  <c:v>Harare:27%</c:v>
                </c:pt>
                <c:pt idx="2">
                  <c:v>Mutare:24%</c:v>
                </c:pt>
                <c:pt idx="3">
                  <c:v>Bulawayo:13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6</c:v>
                </c:pt>
                <c:pt idx="1">
                  <c:v>27</c:v>
                </c:pt>
                <c:pt idx="2">
                  <c:v>24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5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Namib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Outapi:31%</c:v>
                </c:pt>
                <c:pt idx="1">
                  <c:v>Gobabis:29%</c:v>
                </c:pt>
                <c:pt idx="2">
                  <c:v>Eenhana:21%</c:v>
                </c:pt>
                <c:pt idx="3">
                  <c:v>Opuwo:19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1</c:v>
                </c:pt>
                <c:pt idx="1">
                  <c:v>29</c:v>
                </c:pt>
                <c:pt idx="2">
                  <c:v>21</c:v>
                </c:pt>
                <c:pt idx="3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6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Comoros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8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Dzaoudzi:48%</c:v>
                </c:pt>
                <c:pt idx="1">
                  <c:v>Fomboni:24%</c:v>
                </c:pt>
                <c:pt idx="2">
                  <c:v>Moroni:16%</c:v>
                </c:pt>
                <c:pt idx="3">
                  <c:v>Mayotte:12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48</c:v>
                </c:pt>
                <c:pt idx="1">
                  <c:v>24</c:v>
                </c:pt>
                <c:pt idx="2">
                  <c:v>16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7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Austral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Perth:35%</c:v>
                </c:pt>
                <c:pt idx="1">
                  <c:v>Brisbane:25%</c:v>
                </c:pt>
                <c:pt idx="2">
                  <c:v>Melbourne:23%</c:v>
                </c:pt>
                <c:pt idx="3">
                  <c:v>Sydney:17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5</c:v>
                </c:pt>
                <c:pt idx="1">
                  <c:v>25</c:v>
                </c:pt>
                <c:pt idx="2">
                  <c:v>23</c:v>
                </c:pt>
                <c:pt idx="3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8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New Zealand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6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Christchurch:36%</c:v>
                </c:pt>
                <c:pt idx="1">
                  <c:v>Auckland:27%</c:v>
                </c:pt>
                <c:pt idx="2">
                  <c:v>Hamilton:24%</c:v>
                </c:pt>
                <c:pt idx="3">
                  <c:v>Wellington:13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6</c:v>
                </c:pt>
                <c:pt idx="1">
                  <c:v>27</c:v>
                </c:pt>
                <c:pt idx="2">
                  <c:v>24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19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Nauru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Ijuw:31%</c:v>
                </c:pt>
                <c:pt idx="1">
                  <c:v>Yaren:29%</c:v>
                </c:pt>
                <c:pt idx="2">
                  <c:v>Ewa:21%</c:v>
                </c:pt>
                <c:pt idx="3">
                  <c:v>Aiwo:19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1</c:v>
                </c:pt>
                <c:pt idx="1">
                  <c:v>29</c:v>
                </c:pt>
                <c:pt idx="2">
                  <c:v>21</c:v>
                </c:pt>
                <c:pt idx="3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2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As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China:25%</c:v>
                </c:pt>
                <c:pt idx="1">
                  <c:v>Japanese:25%</c:v>
                </c:pt>
                <c:pt idx="2">
                  <c:v>Tailand:25%</c:v>
                </c:pt>
                <c:pt idx="3">
                  <c:v>Malaysia:25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7142859697341919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20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Tuvalu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8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Vaitupu:48%</c:v>
                </c:pt>
                <c:pt idx="1">
                  <c:v>Nukufetau:24%</c:v>
                </c:pt>
                <c:pt idx="2">
                  <c:v>Nui:16%</c:v>
                </c:pt>
                <c:pt idx="3">
                  <c:v>Niutao:12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48</c:v>
                </c:pt>
                <c:pt idx="1">
                  <c:v>24</c:v>
                </c:pt>
                <c:pt idx="2">
                  <c:v>16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3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Afr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Zambia:25%</c:v>
                </c:pt>
                <c:pt idx="1">
                  <c:v>Zimbabwe:25%</c:v>
                </c:pt>
                <c:pt idx="2">
                  <c:v>Namibia:25%</c:v>
                </c:pt>
                <c:pt idx="3">
                  <c:v>Comoros:25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7142859697341919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4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Oceani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Australia:25%</c:v>
                </c:pt>
                <c:pt idx="1">
                  <c:v>New Zealand:25%</c:v>
                </c:pt>
                <c:pt idx="2">
                  <c:v>Nauru:25%</c:v>
                </c:pt>
                <c:pt idx="3">
                  <c:v>Tuvalu:25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7142859697341919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5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Finnland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Ikaalinen:35%</c:v>
                </c:pt>
                <c:pt idx="1">
                  <c:v>Hanko:25%</c:v>
                </c:pt>
                <c:pt idx="2">
                  <c:v>Imatra:23%</c:v>
                </c:pt>
                <c:pt idx="3">
                  <c:v>Kajaani:17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5</c:v>
                </c:pt>
                <c:pt idx="1">
                  <c:v>25</c:v>
                </c:pt>
                <c:pt idx="2">
                  <c:v>23</c:v>
                </c:pt>
                <c:pt idx="3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6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French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6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Toulouse:36%</c:v>
                </c:pt>
                <c:pt idx="1">
                  <c:v>Paris:27%</c:v>
                </c:pt>
                <c:pt idx="2">
                  <c:v>Nantes:24%</c:v>
                </c:pt>
                <c:pt idx="3">
                  <c:v>Marseille:13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6</c:v>
                </c:pt>
                <c:pt idx="1">
                  <c:v>27</c:v>
                </c:pt>
                <c:pt idx="2">
                  <c:v>24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7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England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1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Hereford:31%</c:v>
                </c:pt>
                <c:pt idx="1">
                  <c:v>Coventry:29%</c:v>
                </c:pt>
                <c:pt idx="2">
                  <c:v>Cambridge:21%</c:v>
                </c:pt>
                <c:pt idx="3">
                  <c:v>Birmingham:19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1</c:v>
                </c:pt>
                <c:pt idx="1">
                  <c:v>29</c:v>
                </c:pt>
                <c:pt idx="2">
                  <c:v>21</c:v>
                </c:pt>
                <c:pt idx="3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8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German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48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Dortmund:48%</c:v>
                </c:pt>
                <c:pt idx="1">
                  <c:v>Hamburg:24%</c:v>
                </c:pt>
                <c:pt idx="2">
                  <c:v>Berlin:16%</c:v>
                </c:pt>
                <c:pt idx="3">
                  <c:v>Bremen:12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48</c:v>
                </c:pt>
                <c:pt idx="1">
                  <c:v>24</c:v>
                </c:pt>
                <c:pt idx="2">
                  <c:v>16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charts/chart9.xml><?xml version="1.0" encoding="utf-8"?>
<c:chartSpace xmlns:a="http://schemas.openxmlformats.org/drawingml/2006/main" xmlns:r="http://schemas.openxmlformats.org/officeDocument/2006/relationships" xmlns:c="http://schemas.openxmlformats.org/drawingml/20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wrap="none" anchorCtr="1"/>
          <a:lstStyle/>
          <a:p>
            <a:pPr>
              <a:defRPr/>
            </a:pPr>
            <a:r>
              <a:t>China progress</a:t>
            </a:r>
          </a:p>
        </c:rich>
      </c:tx>
      <c:layout>
        <c:manualLayout>
          <c:h val="30"/>
        </c:manualLayout>
      </c:layout>
      <c:overlay val="1"/>
    </c:title>
    <c:autoTitleDeleted val="0"/>
    <c:plotArea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35</c:v>
                </c:pt>
              </c:strCache>
            </c:strRef>
          </c:tx>
          <c:dPt>
            <c:idx val="0"/>
            <c:invertIfNegative val="1"/>
          </c:dPt>
          <c:dPt>
            <c:idx val="1"/>
            <c:invertIfNegative val="1"/>
          </c:dPt>
          <c:dPt>
            <c:idx val="2"/>
            <c:invertIfNegative val="1"/>
          </c:dPt>
          <c:dPt>
            <c:idx val="3"/>
            <c:invertIfNegative val="1"/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1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2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dLbl>
              <c:idx val="3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</c:separator>
            </c:dLbl>
            <c:txPr>
              <a:bodyPr/>
              <a:p>
                <a:pPr>
                  <a:defRPr>
                    <a:solidFill>
                      <a:srgbClr val="000000"/>
                    </a:solidFill>
                    <a:effectLst/>
                  </a:defRPr>
                </a:p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4</c:f>
              <c:strCache>
                <c:ptCount val="4"/>
                <c:pt idx="0">
                  <c:v>Beijing:35%</c:v>
                </c:pt>
                <c:pt idx="1">
                  <c:v>Shenzhen:25%</c:v>
                </c:pt>
                <c:pt idx="2">
                  <c:v>Dalian:23%</c:v>
                </c:pt>
                <c:pt idx="3">
                  <c:v>Guangzhou:17%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35</c:v>
                </c:pt>
                <c:pt idx="1">
                  <c:v>25</c:v>
                </c:pt>
                <c:pt idx="2">
                  <c:v>23</c:v>
                </c:pt>
                <c:pt idx="3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w val="0.5"/>
          <c:h val="0.28571429848670959"/>
        </c:manualLayout>
      </c:layout>
      <c:overlay val="0"/>
    </c:legend>
    <c:plotVisOnly val="1"/>
    <c:dispBlanksAs/>
    <c:showDLblsOverMax val="1"/>
  </c:chart>
  <c:txPr>
    <a:bodyPr/>
    <a:p>
      <a:pPr>
        <a:defRPr sz="1800">
          <a:effectLst/>
        </a:defRPr>
      </a:pPr>
      <a:endParaRPr lang="ru-RU"/>
    </a:p>
  </c:txPr>
  <c:externalData r:id="rId1"/>
</c:chartSpace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2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4.emf" /></Relationships>
</file>

<file path=ppt/handoutMasters/_rels/handout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/>
          <a:lstStyle>
            <a:lvl1pPr algn="l">
              <a:defRPr sz="1200">
                <a:effectLst/>
              </a:defRPr>
            </a:lvl1pPr>
          </a:lstStyle>
          <a:p>
            <a:endParaRPr lang="de-DE">
              <a:effectLst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593125" y="0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/>
          <a:lstStyle>
            <a:lvl1pPr algn="r">
              <a:defRPr sz="1200">
                <a:effectLst/>
              </a:defRPr>
            </a:lvl1pPr>
          </a:lstStyle>
          <a:p>
            <a:fld id="{ADC0B985-61C2-4E73-AD25-3D14F26A3B5D}" type="datetimeFigureOut">
              <a:rPr lang="de-DE" smtClean="0">
                <a:effectLst/>
              </a:rPr>
              <a:t>20.06.2018</a:t>
            </a:fld>
            <a:endParaRPr lang="de-DE">
              <a:effectLst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03838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 anchor="b"/>
          <a:lstStyle>
            <a:lvl1pPr algn="l">
              <a:defRPr sz="1200">
                <a:effectLst/>
              </a:defRPr>
            </a:lvl1pPr>
          </a:lstStyle>
          <a:p>
            <a:endParaRPr lang="de-DE">
              <a:effectLst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593125" y="6403838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 anchor="b"/>
          <a:lstStyle>
            <a:lvl1pPr algn="r">
              <a:defRPr sz="1200">
                <a:effectLst/>
              </a:defRPr>
            </a:lvl1pPr>
          </a:lstStyle>
          <a:p>
            <a:fld id="{E1FC35ED-E66B-4EA7-90EF-04FD6B83C779}" type="slidenum">
              <a:rPr lang="de-DE" smtClean="0">
                <a:effectLst/>
              </a:rPr>
              <a:t>‹#›</a:t>
            </a:fld>
            <a:endParaRPr lang="de-DE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6315734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/>
          <a:lstStyle>
            <a:lvl1pPr algn="l">
              <a:defRPr sz="1200">
                <a:effectLst/>
              </a:defRPr>
            </a:lvl1pPr>
          </a:lstStyle>
          <a:p>
            <a:endParaRPr lang="de-DE">
              <a:effectLst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593125" y="0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/>
          <a:lstStyle>
            <a:lvl1pPr algn="r">
              <a:defRPr sz="1200">
                <a:effectLst/>
              </a:defRPr>
            </a:lvl1pPr>
          </a:lstStyle>
          <a:p>
            <a:fld id="{38934A03-512B-4175-A05C-244CAC0C2483}" type="datetimeFigureOut">
              <a:rPr lang="de-DE" smtClean="0">
                <a:effectLst/>
              </a:rPr>
              <a:t>20.06.2018</a:t>
            </a:fld>
            <a:endParaRPr lang="de-DE">
              <a:effectLst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11500" y="506413"/>
            <a:ext cx="3651250" cy="2527300"/>
          </a:xfrm>
          <a:prstGeom prst="rect">
            <a:avLst/>
          </a:prstGeom>
          <a:noFill/>
          <a:ln w="12700">
            <a:solidFill>
              <a:prstClr val="black"/>
            </a:solidFill>
          </a:ln>
          <a:effectLst/>
        </p:spPr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87435" y="3202513"/>
            <a:ext cx="7899399" cy="3033951"/>
          </a:xfrm>
          <a:prstGeom prst="rect">
            <a:avLst/>
          </a:prstGeom>
          <a:effectLst/>
        </p:spPr>
        <p:txBody>
          <a:bodyPr vert="horz" lIns="91341" tIns="45671" rIns="91341" bIns="45671" rtlCol="0"/>
          <a:lstStyle/>
          <a:p>
            <a:pPr lvl="0"/>
            <a:r>
              <a:rPr lang="de-DE" smtClean="0">
                <a:effectLst/>
              </a:rPr>
              <a:t>Textmasterformat bearbeiten</a:t>
            </a:r>
          </a:p>
          <a:p>
            <a:pPr lvl="1"/>
            <a:r>
              <a:rPr lang="de-DE" smtClean="0">
                <a:effectLst/>
              </a:rPr>
              <a:t>Zweite Ebene</a:t>
            </a:r>
          </a:p>
          <a:p>
            <a:pPr lvl="2"/>
            <a:r>
              <a:rPr lang="de-DE" smtClean="0">
                <a:effectLst/>
              </a:rPr>
              <a:t>Dritte Ebene</a:t>
            </a:r>
          </a:p>
          <a:p>
            <a:pPr lvl="3"/>
            <a:r>
              <a:rPr lang="de-DE" smtClean="0">
                <a:effectLst/>
              </a:rPr>
              <a:t>Vierte Ebene</a:t>
            </a:r>
          </a:p>
          <a:p>
            <a:pPr lvl="4"/>
            <a:r>
              <a:rPr lang="de-DE" smtClean="0">
                <a:effectLst/>
              </a:rPr>
              <a:t>Fünfte Ebene</a:t>
            </a:r>
            <a:endParaRPr lang="de-DE">
              <a:effectLst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03838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 anchor="b"/>
          <a:lstStyle>
            <a:lvl1pPr algn="l">
              <a:defRPr sz="1200">
                <a:effectLst/>
              </a:defRPr>
            </a:lvl1pPr>
          </a:lstStyle>
          <a:p>
            <a:endParaRPr lang="de-DE">
              <a:effectLst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593125" y="6403838"/>
            <a:ext cx="4278841" cy="337106"/>
          </a:xfrm>
          <a:prstGeom prst="rect">
            <a:avLst/>
          </a:prstGeom>
          <a:effectLst/>
        </p:spPr>
        <p:txBody>
          <a:bodyPr vert="horz" lIns="91341" tIns="45671" rIns="91341" bIns="45671" rtlCol="0" anchor="b"/>
          <a:lstStyle>
            <a:lvl1pPr algn="r">
              <a:defRPr sz="1200">
                <a:effectLst/>
              </a:defRPr>
            </a:lvl1pPr>
          </a:lstStyle>
          <a:p>
            <a:fld id="{D1A26462-A666-4A36-A2AC-732EB029069A}" type="slidenum">
              <a:rPr lang="de-DE" smtClean="0">
                <a:effectLst/>
              </a:rPr>
              <a:t>‹#›</a:t>
            </a:fld>
            <a:endParaRPr lang="de-DE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0730458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.xml" /><Relationship Id="rId2" Type="http://schemas.openxmlformats.org/officeDocument/2006/relationships/notesMaster" Target="../notesMasters/notesMaster1.xml" /></Relationships>
</file>

<file path=ppt/notesSlides/_rels/notesSlide10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6.xml" /><Relationship Id="rId2" Type="http://schemas.openxmlformats.org/officeDocument/2006/relationships/notesMaster" Target="../notesMasters/notesMaster1.xml" /></Relationships>
</file>

<file path=ppt/notesSlides/_rels/notesSlide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.xml" /><Relationship Id="rId2" Type="http://schemas.openxmlformats.org/officeDocument/2006/relationships/notesMaster" Target="../notesMasters/notesMaster1.xml" /></Relationships>
</file>

<file path=ppt/notesSlides/_rels/notesSlide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5.xml" /><Relationship Id="rId2" Type="http://schemas.openxmlformats.org/officeDocument/2006/relationships/notesMaster" Target="../notesMasters/notesMaster1.xml" /></Relationships>
</file>

<file path=ppt/notesSlides/_rels/notesSlide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6.xml" /><Relationship Id="rId2" Type="http://schemas.openxmlformats.org/officeDocument/2006/relationships/notesMaster" Target="../notesMasters/notesMaster1.xml" /></Relationships>
</file>

<file path=ppt/notesSlides/_rels/notesSlide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5.xml" /><Relationship Id="rId2" Type="http://schemas.openxmlformats.org/officeDocument/2006/relationships/notesMaster" Target="../notesMasters/notesMaster1.xml" /></Relationships>
</file>

<file path=ppt/notesSlides/_rels/notesSlide6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6.xml" /><Relationship Id="rId2" Type="http://schemas.openxmlformats.org/officeDocument/2006/relationships/notesMaster" Target="../notesMasters/notesMaster1.xml" /></Relationships>
</file>

<file path=ppt/notesSlides/_rels/notesSlide7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5.xml" /><Relationship Id="rId2" Type="http://schemas.openxmlformats.org/officeDocument/2006/relationships/notesMaster" Target="../notesMasters/notesMaster1.xml" /></Relationships>
</file>

<file path=ppt/notesSlides/_rels/notesSlide8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6.xml" /><Relationship Id="rId2" Type="http://schemas.openxmlformats.org/officeDocument/2006/relationships/notesMaster" Target="../notesMasters/notesMaster1.xml" /></Relationships>
</file>

<file path=ppt/notesSlides/_rels/notesSlide9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5.xml" /><Relationship Id="rId2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ffectLst/>
        </p:spPr>
        <p:txBody>
          <a:bodyPr/>
          <a:lstStyle/>
          <a:p>
            <a:fld id="{61748B41-A019-4EDF-8C66-E56052F7821A}" type="slidenum">
              <a:rPr lang="de-DE">
                <a:effectLst/>
              </a:rPr>
              <a:t>1</a:t>
            </a:fld>
          </a:p>
        </p:txBody>
      </p:sp>
      <p:sp>
        <p:nvSpPr>
          <p:cNvPr id="3365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09913" y="514350"/>
            <a:ext cx="3635375" cy="2516188"/>
          </a:xfrm>
          <a:effectLst/>
        </p:spPr>
      </p:sp>
      <p:sp>
        <p:nvSpPr>
          <p:cNvPr id="3365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15731" y="3188336"/>
            <a:ext cx="7228691" cy="3033951"/>
          </a:xfrm>
          <a:effectLst/>
        </p:spPr>
        <p:txBody>
          <a:bodyPr/>
          <a:lstStyle/>
          <a:p>
            <a:endParaRPr lang="de-DE">
              <a:effectLst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effectLst/>
        </p:spPr>
        <p:txBody>
          <a:bodyPr/>
          <a:lstStyle/>
          <a:p>
            <a:fld id="{469652CD-D174-406D-8DD0-975307F5BB65}" type="slidenum">
              <a:rPr lang="de-DE">
                <a:effectLst/>
              </a:rPr>
              <a:t>36</a:t>
            </a:fld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46425" y="523875"/>
            <a:ext cx="3624263" cy="2509838"/>
          </a:xfrm>
          <a:effectLst/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effectLst/>
        </p:spPr>
        <p:txBody>
          <a:bodyPr/>
          <a:lstStyle/>
          <a:p>
            <a:fld id="{469652CD-D174-406D-8DD0-975307F5BB65}" type="slidenum">
              <a:rPr lang="de-DE">
                <a:effectLst/>
              </a:rPr>
              <a:t>2</a:t>
            </a:fld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4250" y="709613"/>
            <a:ext cx="4918075" cy="3405187"/>
          </a:xfrm>
          <a:effectLst/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de-DE">
              <a:effectLst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D1A26462-A666-4A36-A2AC-732EB029069A}" type="slidenum">
              <a:rPr lang="de-DE" smtClean="0">
                <a:effectLst/>
              </a:rPr>
              <a:t>5</a:t>
            </a:fld>
            <a:endParaRPr lang="de-DE">
              <a:effectLst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effectLst/>
        </p:spPr>
        <p:txBody>
          <a:bodyPr/>
          <a:lstStyle/>
          <a:p>
            <a:fld id="{469652CD-D174-406D-8DD0-975307F5BB65}" type="slidenum">
              <a:rPr lang="de-DE">
                <a:effectLst/>
              </a:rPr>
              <a:t>6</a:t>
            </a:fld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46425" y="523875"/>
            <a:ext cx="3624263" cy="2509838"/>
          </a:xfrm>
          <a:effectLst/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de-DE">
              <a:effectLst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D1A26462-A666-4A36-A2AC-732EB029069A}" type="slidenum">
              <a:rPr lang="de-DE" smtClean="0">
                <a:effectLst/>
              </a:rPr>
              <a:t>15</a:t>
            </a:fld>
            <a:endParaRPr lang="de-DE">
              <a:effectLst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effectLst/>
        </p:spPr>
        <p:txBody>
          <a:bodyPr/>
          <a:lstStyle/>
          <a:p>
            <a:fld id="{469652CD-D174-406D-8DD0-975307F5BB65}" type="slidenum">
              <a:rPr lang="de-DE">
                <a:effectLst/>
              </a:rPr>
              <a:t>16</a:t>
            </a:fld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46425" y="523875"/>
            <a:ext cx="3624263" cy="2509838"/>
          </a:xfrm>
          <a:effectLst/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de-DE">
              <a:effectLst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D1A26462-A666-4A36-A2AC-732EB029069A}" type="slidenum">
              <a:rPr lang="de-DE" smtClean="0">
                <a:effectLst/>
              </a:rPr>
              <a:t>25</a:t>
            </a:fld>
            <a:endParaRPr lang="de-DE">
              <a:effectLst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effectLst/>
        </p:spPr>
        <p:txBody>
          <a:bodyPr/>
          <a:lstStyle/>
          <a:p>
            <a:fld id="{469652CD-D174-406D-8DD0-975307F5BB65}" type="slidenum">
              <a:rPr lang="de-DE">
                <a:effectLst/>
              </a:rPr>
              <a:t>26</a:t>
            </a:fld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46425" y="523875"/>
            <a:ext cx="3624263" cy="2509838"/>
          </a:xfrm>
          <a:effectLst/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de-DE">
              <a:effectLst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D1A26462-A666-4A36-A2AC-732EB029069A}" type="slidenum">
              <a:rPr lang="de-DE" smtClean="0">
                <a:effectLst/>
              </a:rPr>
              <a:t>35</a:t>
            </a:fld>
            <a:endParaRPr lang="de-DE">
              <a:effectLst/>
            </a:endParaRPr>
          </a:p>
        </p:txBody>
      </p:sp>
    </p:spTree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wmf" /><Relationship Id="rId2" Type="http://schemas.openxmlformats.org/officeDocument/2006/relationships/image" Target="../media/image2.png" /><Relationship Id="rId3" Type="http://schemas.openxmlformats.org/officeDocument/2006/relationships/image" Target="../media/image3.wmf" /><Relationship Id="rId4" Type="http://schemas.openxmlformats.org/officeDocument/2006/relationships/slideMaster" Target="../slideMasters/slideMaster1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.xml" /><Relationship Id="rId2" Type="http://schemas.openxmlformats.org/officeDocument/2006/relationships/oleObject" Target="../embeddings/oleObject1.bin" TargetMode="Internal" /><Relationship Id="rId3" Type="http://schemas.openxmlformats.org/officeDocument/2006/relationships/image" Target="../media/image4.emf" /><Relationship Id="rId4" Type="http://schemas.openxmlformats.org/officeDocument/2006/relationships/image" Target="../media/image5.wmf" /><Relationship Id="rId5" Type="http://schemas.openxmlformats.org/officeDocument/2006/relationships/vmlDrawing" Target="../drawings/vmlDrawing1.vml" /><Relationship Id="rId6" Type="http://schemas.openxmlformats.org/officeDocument/2006/relationships/slideMaster" Target="../slideMasters/slideMaster1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6.png" /><Relationship Id="rId2" Type="http://schemas.openxmlformats.org/officeDocument/2006/relationships/image" Target="../media/image1.wmf" /><Relationship Id="rId3" Type="http://schemas.openxmlformats.org/officeDocument/2006/relationships/image" Target="../media/image2.png" /><Relationship Id="rId4" Type="http://schemas.openxmlformats.org/officeDocument/2006/relationships/slideMaster" Target="../slideMasters/slideMaster1.xml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showMasterSp="0" preserve="1">
  <p:cSld name="Volkswagen Titelfolie"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9289" y="4425950"/>
            <a:ext cx="8121649" cy="749300"/>
          </a:xfrm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sz="2800" baseline="0">
                <a:effectLst/>
              </a:defRPr>
            </a:lvl1pPr>
          </a:lstStyle>
          <a:p>
            <a:pPr lvl="0"/>
            <a:r>
              <a:rPr lang="de-DE" noProof="0" smtClean="0">
                <a:effectLst/>
              </a:rPr>
              <a:t>Titelmasterformat durch Klicken bearbeiten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49289" y="5249864"/>
            <a:ext cx="8121649" cy="530225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spcBef>
                <a:spcPct val="0"/>
              </a:spcBef>
              <a:defRPr sz="2400" b="0" baseline="0">
                <a:effectLst/>
                <a:latin typeface="VW Head Office" panose="020b0503040200000003" pitchFamily="34" charset="0"/>
              </a:defRPr>
            </a:lvl1pPr>
          </a:lstStyle>
          <a:p>
            <a:pPr lvl="0"/>
            <a:r>
              <a:rPr lang="de-DE" noProof="0" smtClean="0">
                <a:effectLst/>
              </a:rPr>
              <a:t>Formatvorlage durch Klicken bearbeiten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8783621" y="5729288"/>
            <a:ext cx="1107294" cy="1107294"/>
            <a:chOff x="237600" y="302400"/>
            <a:chExt cx="1296778" cy="1296778"/>
          </a:xfrm>
          <a:effectLst/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7849856" y="4496811"/>
            <a:ext cx="1690200" cy="907560"/>
          </a:xfrm>
          <a:prstGeom prst="rect">
            <a:avLst/>
          </a:prstGeom>
          <a:effectLst/>
        </p:spPr>
      </p:pic>
    </p:spTree>
  </p:cSld>
  <p:clrMapOvr>
    <a:masterClrMapping/>
  </p:clrMapOvr>
  <p:transition>
    <p:cut/>
  </p:transition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 name="Volkswagen Titel und Inhalt"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2" progId="TCLayout.ActiveDocument.1">
                  <p:embed/>
                </p:oleObj>
              </mc:Choice>
              <mc:Fallback>
                <p:oleObj spid="_x0000_s1038" name="think-cell Foli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000" y="287338"/>
            <a:ext cx="8122938" cy="900112"/>
          </a:xfrm>
          <a:effectLst/>
        </p:spPr>
        <p:txBody>
          <a:bodyPr/>
          <a:lstStyle>
            <a:lvl1pPr>
              <a:defRPr kern="100" baseline="0">
                <a:effectLst/>
              </a:defRPr>
            </a:lvl1pPr>
          </a:lstStyle>
          <a:p>
            <a:r>
              <a:rPr lang="de-DE" noProof="0" smtClean="0">
                <a:effectLst/>
              </a:rPr>
              <a:t>Titelmasterformat durch Klicken bearbeiten</a:t>
            </a:r>
            <a:endParaRPr lang="de-DE" noProof="0">
              <a:effectLst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48000" y="1368000"/>
            <a:ext cx="8122938" cy="4855000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defRPr sz="1800" b="0" i="0" baseline="0">
                <a:effectLst/>
              </a:defRPr>
            </a:lvl1pPr>
            <a:lvl2pPr marL="180975" marR="0" indent="-179705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>
                <a:effectLst/>
              </a:defRPr>
            </a:lvl2pPr>
            <a:lvl3pPr marL="361950" marR="0" indent="-180975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>
                <a:effectLst/>
              </a:defRPr>
            </a:lvl3pPr>
            <a:lvl4pPr marL="542925" marR="0" indent="-180975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>
                <a:effectLst/>
              </a:defRPr>
            </a:lvl4pPr>
            <a:lvl5pPr marL="714375" marR="0" indent="-171450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defRPr sz="1800" b="0" baseline="0">
                <a:effectLst/>
              </a:defRPr>
            </a:lvl5pPr>
          </a:lstStyle>
          <a:p>
            <a:pPr lvl="0"/>
            <a:r>
              <a:rPr lang="de-DE" noProof="0" smtClean="0">
                <a:effectLst/>
              </a:rPr>
              <a:t>Textmasterformat bearbeiten</a:t>
            </a:r>
          </a:p>
          <a:p>
            <a:pPr lvl="1"/>
            <a:r>
              <a:rPr lang="de-DE" noProof="0" smtClean="0">
                <a:effectLst/>
              </a:rPr>
              <a:t>Zweite Ebene</a:t>
            </a:r>
          </a:p>
          <a:p>
            <a:pPr lvl="2"/>
            <a:r>
              <a:rPr lang="de-DE" noProof="0" smtClean="0">
                <a:effectLst/>
              </a:rPr>
              <a:t>Dritte Ebene</a:t>
            </a:r>
          </a:p>
          <a:p>
            <a:pPr lvl="3"/>
            <a:r>
              <a:rPr lang="de-DE" noProof="0" smtClean="0">
                <a:effectLst/>
              </a:rPr>
              <a:t>Vierte Ebene</a:t>
            </a:r>
          </a:p>
          <a:p>
            <a:pPr lvl="4"/>
            <a:r>
              <a:rPr lang="de-DE" noProof="0" smtClean="0">
                <a:effectLst/>
              </a:rPr>
              <a:t>Fünfte Ebene</a:t>
            </a:r>
            <a:endParaRPr lang="de-DE" noProof="0">
              <a:effectLst/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7329264" y="6204946"/>
            <a:ext cx="747360" cy="410759"/>
          </a:xfrm>
          <a:prstGeom prst="rect">
            <a:avLst/>
          </a:prstGeom>
          <a:effectLst/>
        </p:spPr>
      </p:pic>
    </p:spTree>
  </p:cSld>
  <p:clrMapOvr>
    <a:masterClrMapping/>
  </p:clrMapOvr>
  <p:transition>
    <p:cut/>
  </p:transition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showMasterSp="0" preserve="1">
  <p:cSld name="Volkswagen Kapitelchart"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000" y="4533900"/>
            <a:ext cx="8122938" cy="673100"/>
          </a:xfrm>
          <a:effectLst/>
        </p:spPr>
        <p:txBody>
          <a:bodyPr anchor="b" anchorCtr="0">
            <a:noAutofit/>
          </a:bodyPr>
          <a:lstStyle>
            <a:lvl1pPr>
              <a:lnSpc>
                <a:spcPct val="110000"/>
              </a:lnSpc>
            </a:lvl1pPr>
          </a:lstStyle>
          <a:p>
            <a:r>
              <a:rPr lang="de-DE" noProof="0" smtClean="0">
                <a:effectLst/>
              </a:rPr>
              <a:t>Titelmasterformat durch Klicken bearbeiten</a:t>
            </a:r>
            <a:endParaRPr lang="de-DE" noProof="0">
              <a:effectLst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9288" y="5314951"/>
            <a:ext cx="8121650" cy="622300"/>
          </a:xfrm>
          <a:effectLst/>
        </p:spPr>
        <p:txBody>
          <a:bodyPr anchor="t" anchorCtr="0">
            <a:noAutofit/>
          </a:bodyPr>
          <a:lstStyle>
            <a:lvl1pPr>
              <a:spcBef>
                <a:spcPct val="0"/>
              </a:spcBef>
              <a:defRPr sz="2400" b="0">
                <a:effectLst/>
                <a:latin typeface="VW Head Office" panose="020b0503040200000003" pitchFamily="34" charset="0"/>
              </a:defRPr>
            </a:lvl1pPr>
            <a:lvl2pPr>
              <a:defRPr sz="2400" b="0">
                <a:effectLst/>
                <a:latin typeface="VW Head Office" panose="020b0503040200000003" pitchFamily="34" charset="0"/>
              </a:defRPr>
            </a:lvl2pPr>
            <a:lvl3pPr>
              <a:defRPr sz="2400" b="0">
                <a:effectLst/>
                <a:latin typeface="VW Head Office" panose="020b0503040200000003" pitchFamily="34" charset="0"/>
              </a:defRPr>
            </a:lvl3pPr>
            <a:lvl4pPr>
              <a:defRPr sz="2400" b="0">
                <a:effectLst/>
                <a:latin typeface="VW Head Office" panose="020b0503040200000003" pitchFamily="34" charset="0"/>
              </a:defRPr>
            </a:lvl4pPr>
            <a:lvl5pPr>
              <a:defRPr sz="2400" b="0">
                <a:effectLst/>
                <a:latin typeface="VW Head Office" panose="020b0503040200000003" pitchFamily="34" charset="0"/>
              </a:defRPr>
            </a:lvl5pPr>
          </a:lstStyle>
          <a:p>
            <a:pPr lvl="0"/>
            <a:r>
              <a:rPr lang="de-DE" noProof="0" smtClean="0">
                <a:effectLst/>
              </a:rPr>
              <a:t>Textmasterformat bearbeit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86888" y="6162713"/>
            <a:ext cx="1088748" cy="489296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6" name="Gruppieren 5"/>
          <p:cNvGrpSpPr/>
          <p:nvPr userDrawn="1"/>
        </p:nvGrpSpPr>
        <p:grpSpPr>
          <a:xfrm>
            <a:off x="8783621" y="5729288"/>
            <a:ext cx="1107294" cy="1107294"/>
            <a:chOff x="237600" y="302400"/>
            <a:chExt cx="1296778" cy="1296778"/>
          </a:xfrm>
          <a:effectLst/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>
    <p:cut/>
  </p:transition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>
  <p:cSld name="Volkswagen Folienlayout zweispaltig"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49288" y="1368000"/>
            <a:ext cx="3960000" cy="4855000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800">
                <a:effectLst/>
              </a:defRPr>
            </a:lvl1pPr>
            <a:lvl2pPr>
              <a:defRPr sz="1800">
                <a:effectLst/>
              </a:defRPr>
            </a:lvl2pPr>
            <a:lvl3pPr>
              <a:defRPr sz="1800">
                <a:effectLst/>
              </a:defRPr>
            </a:lvl3pPr>
            <a:lvl4pPr>
              <a:defRPr sz="1800">
                <a:effectLst/>
              </a:defRPr>
            </a:lvl4pPr>
            <a:lvl5pPr>
              <a:defRPr sz="1800">
                <a:effectLst/>
              </a:defRPr>
            </a:lvl5pPr>
            <a:lvl6pPr>
              <a:defRPr sz="1800">
                <a:effectLst/>
              </a:defRPr>
            </a:lvl6pPr>
            <a:lvl7pPr>
              <a:defRPr sz="1800">
                <a:effectLst/>
              </a:defRPr>
            </a:lvl7pPr>
            <a:lvl8pPr>
              <a:defRPr sz="1800">
                <a:effectLst/>
              </a:defRPr>
            </a:lvl8pPr>
            <a:lvl9pPr>
              <a:defRPr sz="1800">
                <a:effectLst/>
              </a:defRPr>
            </a:lvl9pPr>
          </a:lstStyle>
          <a:p>
            <a:pPr lvl="0"/>
            <a:r>
              <a:rPr lang="de-DE" noProof="0" smtClean="0">
                <a:effectLst/>
              </a:rPr>
              <a:t>Textmasterformat bearbeiten</a:t>
            </a:r>
          </a:p>
          <a:p>
            <a:pPr lvl="1"/>
            <a:r>
              <a:rPr lang="de-DE" noProof="0" smtClean="0">
                <a:effectLst/>
              </a:rPr>
              <a:t>Zweite Ebene</a:t>
            </a:r>
          </a:p>
          <a:p>
            <a:pPr lvl="2"/>
            <a:r>
              <a:rPr lang="de-DE" noProof="0" smtClean="0">
                <a:effectLst/>
              </a:rPr>
              <a:t>Dritte Ebene</a:t>
            </a:r>
          </a:p>
          <a:p>
            <a:pPr lvl="3"/>
            <a:r>
              <a:rPr lang="de-DE" noProof="0" smtClean="0">
                <a:effectLst/>
              </a:rPr>
              <a:t>Vierte Ebene</a:t>
            </a:r>
          </a:p>
          <a:p>
            <a:pPr lvl="4"/>
            <a:r>
              <a:rPr lang="de-DE" noProof="0" smtClean="0">
                <a:effectLst/>
              </a:rPr>
              <a:t>Fünfte Ebene</a:t>
            </a:r>
            <a:endParaRPr lang="de-DE" noProof="0">
              <a:effectLst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810938" y="1368000"/>
            <a:ext cx="3960000" cy="4855000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800">
                <a:effectLst/>
              </a:defRPr>
            </a:lvl1pPr>
            <a:lvl2pPr>
              <a:defRPr sz="1800">
                <a:effectLst/>
              </a:defRPr>
            </a:lvl2pPr>
            <a:lvl3pPr>
              <a:defRPr sz="1800">
                <a:effectLst/>
              </a:defRPr>
            </a:lvl3pPr>
            <a:lvl4pPr>
              <a:defRPr sz="1800">
                <a:effectLst/>
              </a:defRPr>
            </a:lvl4pPr>
            <a:lvl5pPr>
              <a:defRPr sz="1800">
                <a:effectLst/>
              </a:defRPr>
            </a:lvl5pPr>
            <a:lvl6pPr>
              <a:defRPr sz="1800">
                <a:effectLst/>
              </a:defRPr>
            </a:lvl6pPr>
            <a:lvl7pPr>
              <a:defRPr sz="1800">
                <a:effectLst/>
              </a:defRPr>
            </a:lvl7pPr>
            <a:lvl8pPr>
              <a:defRPr sz="1800">
                <a:effectLst/>
              </a:defRPr>
            </a:lvl8pPr>
            <a:lvl9pPr>
              <a:defRPr sz="1800">
                <a:effectLst/>
              </a:defRPr>
            </a:lvl9pPr>
          </a:lstStyle>
          <a:p>
            <a:pPr lvl="0"/>
            <a:r>
              <a:rPr lang="de-DE" noProof="0" smtClean="0">
                <a:effectLst/>
              </a:rPr>
              <a:t>Textmasterformat bearbeiten</a:t>
            </a:r>
          </a:p>
          <a:p>
            <a:pPr lvl="1"/>
            <a:r>
              <a:rPr lang="de-DE" noProof="0" smtClean="0">
                <a:effectLst/>
              </a:rPr>
              <a:t>Zweite Ebene</a:t>
            </a:r>
          </a:p>
          <a:p>
            <a:pPr lvl="2"/>
            <a:r>
              <a:rPr lang="de-DE" noProof="0" smtClean="0">
                <a:effectLst/>
              </a:rPr>
              <a:t>Dritte Ebene</a:t>
            </a:r>
          </a:p>
          <a:p>
            <a:pPr lvl="3"/>
            <a:r>
              <a:rPr lang="de-DE" noProof="0" smtClean="0">
                <a:effectLst/>
              </a:rPr>
              <a:t>Vierte Ebene</a:t>
            </a:r>
          </a:p>
          <a:p>
            <a:pPr lvl="4"/>
            <a:r>
              <a:rPr lang="de-DE" noProof="0" smtClean="0">
                <a:effectLst/>
              </a:rPr>
              <a:t>Fünfte Ebene</a:t>
            </a:r>
            <a:endParaRPr lang="de-DE" noProof="0">
              <a:effectLst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>
            <a:lvl1pPr>
              <a:defRPr baseline="0">
                <a:effectLst/>
              </a:defRPr>
            </a:lvl1pPr>
          </a:lstStyle>
          <a:p>
            <a:r>
              <a:rPr lang="de-DE" noProof="0" smtClean="0">
                <a:effectLst/>
              </a:rPr>
              <a:t>Titelmasterformat durch Klicken bearbeiten</a:t>
            </a:r>
            <a:endParaRPr lang="de-DE" noProof="0">
              <a:effectLst/>
            </a:endParaRPr>
          </a:p>
        </p:txBody>
      </p:sp>
    </p:spTree>
  </p:cSld>
  <p:clrMapOvr>
    <a:masterClrMapping/>
  </p:clrMapOvr>
  <p:transition>
    <p:cut/>
  </p:transition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 userDrawn="1">
  <p:cSld name="Volkswagen leeres Chart"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</p:spTree>
  </p:cSld>
  <p:clrMapOvr>
    <a:masterClrMapping/>
  </p:clrMapOvr>
  <p:transition>
    <p:cut/>
  </p:transition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image" Target="../media/image1.wmf" /><Relationship Id="rId11" Type="http://schemas.openxmlformats.org/officeDocument/2006/relationships/image" Target="../media/image2.png" /><Relationship Id="rId12" Type="http://schemas.openxmlformats.org/officeDocument/2006/relationships/vmlDrawing" Target="../drawings/vmlDrawing2.vml" /><Relationship Id="rId13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3" Type="http://schemas.openxmlformats.org/officeDocument/2006/relationships/slideLayout" Target="../slideLayouts/slideLayout3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tags" Target="../tags/tag2.xml" /><Relationship Id="rId7" Type="http://schemas.openxmlformats.org/officeDocument/2006/relationships/oleObject" Target="../embeddings/oleObject2.bin" TargetMode="Internal" /><Relationship Id="rId8" Type="http://schemas.openxmlformats.org/officeDocument/2006/relationships/image" Target="../media/image4.emf" /><Relationship Id="rId9" Type="http://schemas.openxmlformats.org/officeDocument/2006/relationships/image" Target="../media/image6.png" /></Relationships>
</file>

<file path=ppt/slideMasters/slideMaster1.xml><?xml version="1.0" encoding="utf-8"?>
<p:sldMaster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7" progId="TCLayout.ActiveDocument.1">
                  <p:embed/>
                </p:oleObj>
              </mc:Choice>
              <mc:Fallback>
                <p:oleObj spid="_x0000_s1039" name="think-cell Folie" r:id="rId7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8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122938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anchor="t" anchorCtr="0" compatLnSpc="1"/>
          <a:lstStyle/>
          <a:p>
            <a:pPr lvl="0"/>
            <a:r>
              <a:rPr lang="de-DE" smtClean="0">
                <a:effectLst/>
              </a:rPr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9288" y="1368000"/>
            <a:ext cx="8121650" cy="452596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>
                <a:effectLst/>
              </a:rPr>
              <a:t>Textmasterformat bearbeiten</a:t>
            </a:r>
          </a:p>
          <a:p>
            <a:pPr lvl="1"/>
            <a:r>
              <a:rPr lang="de-DE" smtClean="0">
                <a:effectLst/>
              </a:rPr>
              <a:t>Zweite Ebene</a:t>
            </a:r>
          </a:p>
          <a:p>
            <a:pPr lvl="2"/>
            <a:r>
              <a:rPr lang="de-DE" smtClean="0">
                <a:effectLst/>
              </a:rPr>
              <a:t>Dritte Ebene</a:t>
            </a:r>
          </a:p>
          <a:p>
            <a:pPr lvl="3"/>
            <a:r>
              <a:rPr lang="de-DE" smtClean="0">
                <a:effectLst/>
              </a:rPr>
              <a:t>Vierte Ebene</a:t>
            </a:r>
          </a:p>
          <a:p>
            <a:pPr lvl="4"/>
            <a:r>
              <a:rPr lang="de-DE" smtClean="0">
                <a:effectLst/>
              </a:rPr>
              <a:t>Fünfte Ebene</a:t>
            </a:r>
            <a:endParaRPr lang="en-US">
              <a:effectLst/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86888" y="6162713"/>
            <a:ext cx="1088748" cy="489296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18" name="Gruppieren 17"/>
          <p:cNvGrpSpPr/>
          <p:nvPr userDrawn="1"/>
        </p:nvGrpSpPr>
        <p:grpSpPr>
          <a:xfrm>
            <a:off x="8783621" y="5729288"/>
            <a:ext cx="1107294" cy="1107294"/>
            <a:chOff x="237600" y="302400"/>
            <a:chExt cx="1296778" cy="1296778"/>
          </a:xfrm>
          <a:effectLst/>
        </p:grpSpPr>
        <p:pic>
          <p:nvPicPr>
            <p:cNvPr id="22" name="Grafik 21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Grafik 22"/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Rectangle 4"/>
          <p:cNvSpPr txBox="1">
            <a:spLocks noChangeArrowheads="1"/>
          </p:cNvSpPr>
          <p:nvPr userDrawn="1"/>
        </p:nvSpPr>
        <p:spPr>
          <a:xfrm>
            <a:off x="4424030" y="6340670"/>
            <a:ext cx="2797980" cy="201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anchor="t" anchorCtr="0" compatLnSpc="1"/>
          <a:lstStyle>
            <a:defPPr>
              <a:defRPr lang="de-DE">
                <a:effectLst/>
              </a:defRPr>
            </a:defPPr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tabLst>
                <a:tab pos="1003300"/>
                <a:tab pos="2750820"/>
              </a:tabLst>
              <a:defRPr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>
                <a:effectLst/>
              </a:rPr>
              <a:t>PT-X | L. Muster</a:t>
            </a:r>
          </a:p>
        </p:txBody>
      </p:sp>
      <p:sp>
        <p:nvSpPr>
          <p:cNvPr id="24" name="Rectangle 6"/>
          <p:cNvSpPr txBox="1">
            <a:spLocks noChangeArrowheads="1"/>
          </p:cNvSpPr>
          <p:nvPr userDrawn="1"/>
        </p:nvSpPr>
        <p:spPr>
          <a:xfrm>
            <a:off x="8296993" y="6347662"/>
            <a:ext cx="36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anchor="t" anchorCtr="0" compatLnSpc="1"/>
          <a:lstStyle>
            <a:defPPr>
              <a:defRPr lang="de-DE">
                <a:effectLst/>
              </a:defRPr>
            </a:defPPr>
            <a:lvl1pPr marL="0" algn="r" defTabSz="914400" rtl="0" eaLnBrk="1" latinLnBrk="0" hangingPunct="1">
              <a:lnSpc>
                <a:spcPct val="100000"/>
              </a:lnSpc>
              <a:spcBef>
                <a:spcPct val="0"/>
              </a:spcBef>
              <a:defRPr sz="900" kern="100" baseline="0">
                <a:solidFill>
                  <a:schemeClr val="tx1"/>
                </a:solidFill>
                <a:effectLst/>
                <a:latin typeface="VW Text Office" panose="020b05040402000000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fld id="{A5BB97A9-7D72-4F8F-8BC5-4E547C3F4DC5}" type="slidenum">
              <a:rPr lang="de-DE" smtClean="0">
                <a:effectLst/>
              </a:rPr>
              <a:t>‹#›</a:t>
            </a:fld>
          </a:p>
          <a:p>
            <a:endParaRPr lang="de-DE">
              <a:effectLst/>
            </a:endParaRPr>
          </a:p>
        </p:txBody>
      </p:sp>
      <p:sp>
        <p:nvSpPr>
          <p:cNvPr id="25" name="Rectangle 4"/>
          <p:cNvSpPr txBox="1">
            <a:spLocks noChangeArrowheads="1"/>
          </p:cNvSpPr>
          <p:nvPr userDrawn="1"/>
        </p:nvSpPr>
        <p:spPr>
          <a:xfrm rot="16200000">
            <a:off x="-1371858" y="4883020"/>
            <a:ext cx="3116332" cy="201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anchor="t" anchorCtr="0" compatLnSpc="1"/>
          <a:lstStyle>
            <a:defPPr>
              <a:defRPr lang="de-DE">
                <a:effectLst/>
              </a:defRPr>
            </a:defPPr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tabLst>
                <a:tab pos="1003300"/>
                <a:tab pos="2750820"/>
              </a:tabLst>
              <a:defRPr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>
                <a:effectLst/>
              </a:rPr>
              <a:t>M. Mustermann,</a:t>
            </a:r>
            <a:r>
              <a:rPr lang="de-DE" baseline="0" smtClean="0">
                <a:effectLst/>
              </a:rPr>
              <a:t> Beispielpräsentation, 26. Okt. 2017</a:t>
            </a:r>
            <a:endParaRPr lang="de-DE" smtClean="0">
              <a:effectLst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>
    <p:cut/>
  </p:transition>
  <p:timing/>
  <p:hf sldNum="0" hdr="0" ftr="0"/>
  <p:txStyles>
    <p:titleStyle>
      <a:lvl1pPr algn="l" defTabSz="914400" rtl="0" eaLnBrk="1" latinLnBrk="0" hangingPunct="1">
        <a:lnSpc>
          <a:spcPct val="103000"/>
        </a:lnSpc>
        <a:spcBef>
          <a:spcPct val="0"/>
        </a:spcBef>
        <a:buNone/>
        <a:defRPr sz="2400" b="1" kern="100" baseline="0">
          <a:solidFill>
            <a:schemeClr val="tx1"/>
          </a:solidFill>
          <a:effectLst/>
          <a:latin typeface="VW Head Office" panose="020b0503040200000003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Tx/>
        <a:buNone/>
        <a:defRPr sz="1800" b="0" kern="100" baseline="0">
          <a:solidFill>
            <a:schemeClr val="tx1"/>
          </a:solidFill>
          <a:effectLst/>
          <a:latin typeface="VW Text Office" panose="020b0504040200000003" pitchFamily="34" charset="0"/>
          <a:ea typeface="+mn-ea"/>
          <a:cs typeface="+mn-cs"/>
        </a:defRPr>
      </a:lvl1pPr>
      <a:lvl2pPr marL="180975" marR="0" indent="-179705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effectLst/>
          <a:latin typeface="VW Text Office" panose="020b0504040200000003" pitchFamily="34" charset="0"/>
          <a:ea typeface="+mn-ea"/>
          <a:cs typeface="+mn-cs"/>
        </a:defRPr>
      </a:lvl2pPr>
      <a:lvl3pPr marL="361950" marR="0" indent="-180975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effectLst/>
          <a:latin typeface="VW Text Office" panose="020b0504040200000003" pitchFamily="34" charset="0"/>
          <a:ea typeface="+mn-ea"/>
          <a:cs typeface="+mn-cs"/>
        </a:defRPr>
      </a:lvl3pPr>
      <a:lvl4pPr marL="542925" marR="0" indent="-180975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effectLst/>
          <a:latin typeface="VW Text Office" panose="020b0504040200000003" pitchFamily="34" charset="0"/>
          <a:ea typeface="+mn-ea"/>
          <a:cs typeface="+mn-cs"/>
        </a:defRPr>
      </a:lvl4pPr>
      <a:lvl5pPr marL="714375" marR="0" indent="-171450" algn="l" defTabSz="914400" rtl="0" eaLnBrk="1" fontAlgn="base" latinLnBrk="0" hangingPunct="1">
        <a:lnSpc>
          <a:spcPct val="110000"/>
        </a:lnSpc>
        <a:spcBef>
          <a:spcPts val="1000"/>
        </a:spcBef>
        <a:spcAft>
          <a:spcPct val="0"/>
        </a:spcAft>
        <a:buClrTx/>
        <a:buSzTx/>
        <a:buFont typeface="VW Headline OT-Book" pitchFamily="34" charset="0"/>
        <a:buChar char="–"/>
        <a:defRPr sz="1800" kern="100" baseline="0">
          <a:solidFill>
            <a:schemeClr val="tx1"/>
          </a:solidFill>
          <a:effectLst/>
          <a:latin typeface="VW Text Office" panose="020b05040402000000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de-DE">
          <a:effectLst/>
        </a:defRPr>
      </a:defPPr>
      <a:lvl1pPr marL="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notesSlide" Target="../notesSlides/notesSlide1.xml" /><Relationship Id="rId3" Type="http://schemas.openxmlformats.org/officeDocument/2006/relationships/image" Target="../media/image7.png" /><Relationship Id="rId4" Type="http://schemas.openxmlformats.org/officeDocument/2006/relationships/image" Target="../media/image8.png" /><Relationship Id="rId5" Type="http://schemas.openxmlformats.org/officeDocument/2006/relationships/image" Target="../media/image9.png" /><Relationship Id="rId6" Type="http://schemas.openxmlformats.org/officeDocument/2006/relationships/tags" Target="../tags/tag3.xml" /></Relationships>
</file>

<file path=ppt/slides/_rels/slide1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6.xml" /></Relationships>
</file>

<file path=ppt/slides/_rels/slide1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9.xml" /></Relationships>
</file>

<file path=ppt/slides/_rels/slide1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7.xml" /></Relationships>
</file>

<file path=ppt/slides/_rels/slide1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10.xml" /></Relationships>
</file>

<file path=ppt/slides/_rels/slide1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8.xml" /></Relationships>
</file>

<file path=ppt/slides/_rels/slide1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notesSlide" Target="../notesSlides/notesSlide5.xml" /><Relationship Id="rId3" Type="http://schemas.openxmlformats.org/officeDocument/2006/relationships/image" Target="../media/image10.png" /><Relationship Id="rId4" Type="http://schemas.openxmlformats.org/officeDocument/2006/relationships/tags" Target="../tags/tag11.xml" /></Relationships>
</file>

<file path=ppt/slides/_rels/slide1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6.xml" /><Relationship Id="rId3" Type="http://schemas.openxmlformats.org/officeDocument/2006/relationships/tags" Target="../tags/tag12.xml" /></Relationships>
</file>

<file path=ppt/slides/_rels/slide1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13.xml" /></Relationships>
</file>

<file path=ppt/slides/_rels/slide1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9.xml" /></Relationships>
</file>

<file path=ppt/slides/_rels/slide1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14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.xml" /><Relationship Id="rId3" Type="http://schemas.openxmlformats.org/officeDocument/2006/relationships/tags" Target="../tags/tag4.xml" /></Relationships>
</file>

<file path=ppt/slides/_rels/slide2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0.xml" /></Relationships>
</file>

<file path=ppt/slides/_rels/slide2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15.xml" /></Relationships>
</file>

<file path=ppt/slides/_rels/slide2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1.xml" /></Relationships>
</file>

<file path=ppt/slides/_rels/slide2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16.xml" /></Relationships>
</file>

<file path=ppt/slides/_rels/slide2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2.xml" /></Relationships>
</file>

<file path=ppt/slides/_rels/slide2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notesSlide" Target="../notesSlides/notesSlide7.xml" /><Relationship Id="rId3" Type="http://schemas.openxmlformats.org/officeDocument/2006/relationships/image" Target="../media/image10.png" /><Relationship Id="rId4" Type="http://schemas.openxmlformats.org/officeDocument/2006/relationships/tags" Target="../tags/tag17.xml" /></Relationships>
</file>

<file path=ppt/slides/_rels/slide2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8.xml" /><Relationship Id="rId3" Type="http://schemas.openxmlformats.org/officeDocument/2006/relationships/tags" Target="../tags/tag18.xml" /></Relationships>
</file>

<file path=ppt/slides/_rels/slide2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19.xml" /></Relationships>
</file>

<file path=ppt/slides/_rels/slide2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3.xml" /></Relationships>
</file>

<file path=ppt/slides/_rels/slide2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0.xml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.xml" /><Relationship Id="rId3" Type="http://schemas.openxmlformats.org/officeDocument/2006/relationships/chart" Target="../charts/chart2.xml" /></Relationships>
</file>

<file path=ppt/slides/_rels/slide3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4.xml" /></Relationships>
</file>

<file path=ppt/slides/_rels/slide3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1.xml" /></Relationships>
</file>

<file path=ppt/slides/_rels/slide3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5.xml" /></Relationships>
</file>

<file path=ppt/slides/_rels/slide3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2.xml" /></Relationships>
</file>

<file path=ppt/slides/_rels/slide3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6.xml" /></Relationships>
</file>

<file path=ppt/slides/_rels/slide3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notesSlide" Target="../notesSlides/notesSlide9.xml" /><Relationship Id="rId3" Type="http://schemas.openxmlformats.org/officeDocument/2006/relationships/image" Target="../media/image10.png" /><Relationship Id="rId4" Type="http://schemas.openxmlformats.org/officeDocument/2006/relationships/tags" Target="../tags/tag23.xml" /></Relationships>
</file>

<file path=ppt/slides/_rels/slide3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0.xml" /><Relationship Id="rId3" Type="http://schemas.openxmlformats.org/officeDocument/2006/relationships/tags" Target="../tags/tag24.xml" /></Relationships>
</file>

<file path=ppt/slides/_rels/slide3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5.xml" /></Relationships>
</file>

<file path=ppt/slides/_rels/slide3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7.xml" /></Relationships>
</file>

<file path=ppt/slides/_rels/slide3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6.xm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3.xml" /><Relationship Id="rId3" Type="http://schemas.openxmlformats.org/officeDocument/2006/relationships/chart" Target="../charts/chart4.xml" /></Relationships>
</file>

<file path=ppt/slides/_rels/slide4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8.xml" /></Relationships>
</file>

<file path=ppt/slides/_rels/slide4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7.xml" /></Relationships>
</file>

<file path=ppt/slides/_rels/slide4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19.xml" /></Relationships>
</file>

<file path=ppt/slides/_rels/slide4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28.xml" /></Relationships>
</file>

<file path=ppt/slides/_rels/slide4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20.xml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notesSlide" Target="../notesSlides/notesSlide3.xml" /><Relationship Id="rId3" Type="http://schemas.openxmlformats.org/officeDocument/2006/relationships/image" Target="../media/image10.png" /><Relationship Id="rId4" Type="http://schemas.openxmlformats.org/officeDocument/2006/relationships/tags" Target="../tags/tag5.xml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4.xml" /><Relationship Id="rId3" Type="http://schemas.openxmlformats.org/officeDocument/2006/relationships/tags" Target="../tags/tag6.xml" /></Relationships>
</file>

<file path=ppt/slides/_rels/slide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7.xml" /></Relationships>
</file>

<file path=ppt/slides/_rels/slide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2" Type="http://schemas.openxmlformats.org/officeDocument/2006/relationships/chart" Target="../charts/chart5.xml" /></Relationships>
</file>

<file path=ppt/slides/_rels/slide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tags" Target="../tags/tag8.xml" /></Relationships>
</file>

<file path=ppt/slides/slide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649289" y="4425950"/>
            <a:ext cx="8502649" cy="749300"/>
          </a:xfrm>
          <a:effectLst/>
        </p:spPr>
        <p:txBody>
          <a:bodyPr/>
          <a:lstStyle/>
          <a:p>
            <a:r>
              <a:rPr lang="de-DE" smtClean="0">
                <a:effectLst/>
              </a:rPr>
              <a:t>Werkzeugbau Marke Volkswagen</a:t>
            </a:r>
            <a:endParaRPr lang="de-DE">
              <a:effectLst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subTitle" sz="quarter" idx="1"/>
          </p:nvPr>
        </p:nvSpPr>
        <p:spPr>
          <a:xfrm>
            <a:off x="649289" y="5249864"/>
            <a:ext cx="8502649" cy="530225"/>
          </a:xfrm>
          <a:effectLst/>
        </p:spPr>
        <p:txBody>
          <a:bodyPr/>
          <a:lstStyle/>
          <a:p>
            <a:r>
              <a:t>walk ma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8839106" y="5998845"/>
            <a:ext cx="1066800" cy="866775"/>
          </a:xfrm>
          <a:prstGeom prst="rect">
            <a:avLst/>
          </a:prstGeom>
          <a:effectLst/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8839106" y="5998251"/>
            <a:ext cx="733425" cy="771525"/>
          </a:xfrm>
          <a:prstGeom prst="rect">
            <a:avLst/>
          </a:prstGeom>
          <a:effectLst/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0" y="12700"/>
            <a:ext cx="9906000" cy="4027772"/>
          </a:xfrm>
          <a:prstGeom prst="rect">
            <a:avLst/>
          </a:prstGeom>
          <a:effectLst/>
        </p:spPr>
      </p:pic>
    </p:spTree>
    <p:custDataLst>
      <p:tags r:id="rId6"/>
    </p:custDataLst>
  </p:cSld>
  <p:clrMapOvr>
    <a:masterClrMapping/>
  </p:clrMapOvr>
  <p:transition>
    <p:cut/>
  </p:transition>
  <p:timing/>
</p:sld>
</file>

<file path=ppt/slides/slide10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1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1.3 England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1.3.1 Birmingham</a:t>
            </a:r>
          </a:p>
          <a:p>
            <a:r>
              <a:t>1.3.2 Cambridge</a:t>
            </a:r>
          </a:p>
          <a:p>
            <a:r>
              <a:t>1.3.3 Coventry</a:t>
            </a:r>
          </a:p>
          <a:p>
            <a:r>
              <a:t>1.3.4 Hereford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1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1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1.4 German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1.4.1 Berlin</a:t>
            </a:r>
          </a:p>
          <a:p>
            <a:r>
              <a:t>1.4.2 Hamburg</a:t>
            </a:r>
          </a:p>
          <a:p>
            <a:r>
              <a:t>1.4.3 Dortmund</a:t>
            </a:r>
          </a:p>
          <a:p>
            <a:r>
              <a:t>1.4.4 Bremen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1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15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49605" y="4228465"/>
            <a:ext cx="8502650" cy="413385"/>
          </a:xfrm>
          <a:effectLst/>
        </p:spPr>
        <p:txBody>
          <a:bodyPr/>
          <a:lstStyle/>
          <a:p>
            <a:r>
              <a:t>2. Asia</a:t>
            </a:r>
          </a:p>
        </p:txBody>
      </p:sp>
      <p:sp>
        <p:nvSpPr>
          <p:cNvPr id="3368966" name="Rectangle 6"/>
          <p:cNvSpPr>
            <a:spLocks noGrp="1" noChangeArrowheads="1"/>
          </p:cNvSpPr>
          <p:nvPr>
            <p:ph type="subTitle" sz="quarter" idx="1"/>
          </p:nvPr>
        </p:nvSpPr>
        <p:spPr>
          <a:effectLst/>
        </p:spPr>
        <p:txBody>
          <a:bodyPr>
            <a:noAutofit/>
          </a:bodyPr>
          <a:lstStyle/>
          <a:p>
            <a:r>
              <a:rPr lang="en-US" smtClean="0">
                <a:effectLst/>
              </a:rPr>
              <a:t> </a:t>
            </a:r>
            <a:endParaRPr lang="de-DE">
              <a:effectLst/>
            </a:endParaRPr>
          </a:p>
        </p:txBody>
      </p:sp>
      <p:pic>
        <p:nvPicPr>
          <p:cNvPr id="336896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558"/>
            <a:ext cx="9905997" cy="402266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>
</file>

<file path=ppt/slides/slide16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rPr lang="de-DE" smtClean="0">
                <a:effectLst/>
              </a:rPr>
              <a:t>Inhalt</a:t>
            </a:r>
            <a:endParaRPr lang="de-DE">
              <a:effectLst/>
            </a:endParaRPr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503938" cy="4855000"/>
          </a:xfrm>
          <a:effectLst/>
        </p:spPr>
        <p:txBody>
          <a:bodyPr/>
          <a:lstStyle/>
          <a:p>
            <a:pPr>
              <a:spcBef>
                <a:spcPts val="700"/>
              </a:spcBef>
            </a:pPr>
            <a:r>
              <a:t>2. Asia</a:t>
            </a:r>
          </a:p>
          <a:p>
            <a:pPr defTabSz="719455">
              <a:spcBef>
                <a:spcPts val="700"/>
              </a:spcBef>
            </a:pPr>
            <a:r>
              <a:t>2.1 China</a:t>
            </a:r>
          </a:p>
          <a:p>
            <a:pPr defTabSz="719455">
              <a:spcBef>
                <a:spcPts val="700"/>
              </a:spcBef>
            </a:pPr>
            <a:r>
              <a:t>2.2 Japanese</a:t>
            </a:r>
          </a:p>
          <a:p>
            <a:pPr defTabSz="719455">
              <a:spcBef>
                <a:spcPts val="700"/>
              </a:spcBef>
            </a:pPr>
            <a:r>
              <a:t>2.3 Tailand</a:t>
            </a:r>
          </a:p>
          <a:p>
            <a:pPr defTabSz="719455">
              <a:spcBef>
                <a:spcPts val="700"/>
              </a:spcBef>
            </a:pPr>
            <a:r>
              <a:t>2.4 Malaysia</a:t>
            </a: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  <a:endParaRPr lang="de-DE" smtClean="0">
              <a:effectLst/>
            </a:endParaRPr>
          </a:p>
        </p:txBody>
      </p:sp>
    </p:spTree>
    <p:custDataLst>
      <p:tags r:id="rId3"/>
    </p:custDataLst>
  </p:cSld>
  <p:clrMapOvr>
    <a:masterClrMapping/>
  </p:clrMapOvr>
  <p:transition>
    <p:cut/>
  </p:transition>
  <p:timing/>
</p:sld>
</file>

<file path=ppt/slides/slide17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2.1 China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2.1.1 Guangzhou</a:t>
            </a:r>
          </a:p>
          <a:p>
            <a:r>
              <a:t>2.1.2 Dalian</a:t>
            </a:r>
          </a:p>
          <a:p>
            <a:r>
              <a:t>2.1.3 Shenzhen</a:t>
            </a:r>
          </a:p>
          <a:p>
            <a:r>
              <a:t>2.1.4 Beijing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18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19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2.2 Japanese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2.2.1 Tokyo</a:t>
            </a:r>
          </a:p>
          <a:p>
            <a:r>
              <a:t>2.2.2 Nagoya</a:t>
            </a:r>
          </a:p>
          <a:p>
            <a:r>
              <a:t>2.2.3 Kawasaki</a:t>
            </a:r>
          </a:p>
          <a:p>
            <a:r>
              <a:t>2.2.4 Sapporo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de-DE">
                <a:effectLst/>
              </a:rPr>
              <a:t>Inhalt</a:t>
            </a:r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122938" cy="4855000"/>
          </a:xfrm>
          <a:effectLst/>
        </p:spPr>
        <p:txBody>
          <a:bodyPr/>
          <a:lstStyle/>
          <a:p>
            <a:pPr>
              <a:spcBef>
                <a:spcPts val="700"/>
              </a:spcBef>
            </a:pPr>
            <a:r>
              <a:t>1 Europe</a:t>
            </a:r>
          </a:p>
          <a:p>
            <a:pPr>
              <a:spcBef>
                <a:spcPts val="700"/>
              </a:spcBef>
            </a:pPr>
            <a:r>
              <a:t>2 Asia</a:t>
            </a:r>
          </a:p>
          <a:p>
            <a:pPr>
              <a:spcBef>
                <a:spcPts val="700"/>
              </a:spcBef>
            </a:pPr>
            <a:r>
              <a:t>3 Afria</a:t>
            </a:r>
          </a:p>
          <a:p>
            <a:pPr>
              <a:spcBef>
                <a:spcPts val="700"/>
              </a:spcBef>
            </a:pPr>
            <a:r>
              <a:t>4 Oceania</a:t>
            </a: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  <a:p>
            <a:pPr>
              <a:spcBef>
                <a:spcPts val="700"/>
              </a:spcBef>
            </a:pPr>
          </a:p>
        </p:txBody>
      </p:sp>
    </p:spTree>
    <p:custDataLst>
      <p:tags r:id="rId3"/>
    </p:custDataLst>
  </p:cSld>
  <p:clrMapOvr>
    <a:masterClrMapping/>
  </p:clrMapOvr>
  <p:transition>
    <p:cut/>
  </p:transition>
  <p:timing/>
</p:sld>
</file>

<file path=ppt/slides/slide20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2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2.3 Tailand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2.3.1 Bangkok</a:t>
            </a:r>
          </a:p>
          <a:p>
            <a:r>
              <a:t>2.3.2 Pattaya</a:t>
            </a:r>
          </a:p>
          <a:p>
            <a:r>
              <a:t>2.3.3 Chonburi</a:t>
            </a:r>
          </a:p>
          <a:p>
            <a:r>
              <a:t>2.3.4 Lampang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2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2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2.4 Malaysia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2.4.1 Ipoh</a:t>
            </a:r>
          </a:p>
          <a:p>
            <a:r>
              <a:t>2.4.2 Kuala</a:t>
            </a:r>
          </a:p>
          <a:p>
            <a:r>
              <a:t>2.4.3 Johor</a:t>
            </a:r>
          </a:p>
          <a:p>
            <a:r>
              <a:t>2.4.4 Kuching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2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25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49605" y="4228465"/>
            <a:ext cx="8502650" cy="413385"/>
          </a:xfrm>
          <a:effectLst/>
        </p:spPr>
        <p:txBody>
          <a:bodyPr/>
          <a:lstStyle/>
          <a:p>
            <a:r>
              <a:t>3. Afria</a:t>
            </a:r>
          </a:p>
        </p:txBody>
      </p:sp>
      <p:sp>
        <p:nvSpPr>
          <p:cNvPr id="3368966" name="Rectangle 6"/>
          <p:cNvSpPr>
            <a:spLocks noGrp="1" noChangeArrowheads="1"/>
          </p:cNvSpPr>
          <p:nvPr>
            <p:ph type="subTitle" sz="quarter" idx="1"/>
          </p:nvPr>
        </p:nvSpPr>
        <p:spPr>
          <a:effectLst/>
        </p:spPr>
        <p:txBody>
          <a:bodyPr>
            <a:noAutofit/>
          </a:bodyPr>
          <a:lstStyle/>
          <a:p>
            <a:r>
              <a:rPr lang="en-US" smtClean="0">
                <a:effectLst/>
              </a:rPr>
              <a:t> </a:t>
            </a:r>
            <a:endParaRPr lang="de-DE">
              <a:effectLst/>
            </a:endParaRPr>
          </a:p>
        </p:txBody>
      </p:sp>
      <p:pic>
        <p:nvPicPr>
          <p:cNvPr id="336896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558"/>
            <a:ext cx="9905997" cy="402266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>
</file>

<file path=ppt/slides/slide26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rPr lang="de-DE" smtClean="0">
                <a:effectLst/>
              </a:rPr>
              <a:t>Inhalt</a:t>
            </a:r>
            <a:endParaRPr lang="de-DE">
              <a:effectLst/>
            </a:endParaRPr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503938" cy="4855000"/>
          </a:xfrm>
          <a:effectLst/>
        </p:spPr>
        <p:txBody>
          <a:bodyPr/>
          <a:lstStyle/>
          <a:p>
            <a:pPr>
              <a:spcBef>
                <a:spcPts val="700"/>
              </a:spcBef>
            </a:pPr>
            <a:r>
              <a:t>3. Afria</a:t>
            </a:r>
          </a:p>
          <a:p>
            <a:pPr defTabSz="719455">
              <a:spcBef>
                <a:spcPts val="700"/>
              </a:spcBef>
            </a:pPr>
            <a:r>
              <a:t>3.1 Zambia</a:t>
            </a:r>
          </a:p>
          <a:p>
            <a:pPr defTabSz="719455">
              <a:spcBef>
                <a:spcPts val="700"/>
              </a:spcBef>
            </a:pPr>
            <a:r>
              <a:t>3.2 Zimbabwe</a:t>
            </a:r>
          </a:p>
          <a:p>
            <a:pPr defTabSz="719455">
              <a:spcBef>
                <a:spcPts val="700"/>
              </a:spcBef>
            </a:pPr>
            <a:r>
              <a:t>3.3 Namibia</a:t>
            </a:r>
          </a:p>
          <a:p>
            <a:pPr defTabSz="719455">
              <a:spcBef>
                <a:spcPts val="700"/>
              </a:spcBef>
            </a:pPr>
            <a:r>
              <a:t>3.4 Comoros</a:t>
            </a: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  <a:endParaRPr lang="de-DE" smtClean="0">
              <a:effectLst/>
            </a:endParaRPr>
          </a:p>
        </p:txBody>
      </p:sp>
    </p:spTree>
    <p:custDataLst>
      <p:tags r:id="rId3"/>
    </p:custDataLst>
  </p:cSld>
  <p:clrMapOvr>
    <a:masterClrMapping/>
  </p:clrMapOvr>
  <p:transition>
    <p:cut/>
  </p:transition>
  <p:timing/>
</p:sld>
</file>

<file path=ppt/slides/slide27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3.1 Zambia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3.1.1 Lusaka</a:t>
            </a:r>
          </a:p>
          <a:p>
            <a:r>
              <a:t>3.1.2 Ndola</a:t>
            </a:r>
          </a:p>
          <a:p>
            <a:r>
              <a:t>3.1.3 Kitwe</a:t>
            </a:r>
          </a:p>
          <a:p>
            <a:r>
              <a:t>3.1.4 Kabwe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28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29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3.2 Zimbabwe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3.2.1 Harare</a:t>
            </a:r>
          </a:p>
          <a:p>
            <a:r>
              <a:t>3.2.2 Bulawayo</a:t>
            </a:r>
          </a:p>
          <a:p>
            <a:r>
              <a:t>3.2.3 Chitungwiza</a:t>
            </a:r>
          </a:p>
          <a:p>
            <a:r>
              <a:t>3.2.4 Mutare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2"/>
          <p:cNvSpPr txBox="1"/>
          <p:nvPr/>
        </p:nvSpPr>
        <p:spPr>
          <a:xfrm>
            <a:off x="5182359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635000" y="1270000"/>
          <a:ext cx="4445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Object"/>
          <p:cNvGraphicFramePr/>
          <p:nvPr/>
        </p:nvGraphicFramePr>
        <p:xfrm>
          <a:off x="5334000" y="1270000"/>
          <a:ext cx="4445000" cy="444500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</p:spTree>
  </p:cSld>
  <p:clrMapOvr>
    <a:masterClrMapping/>
  </p:clrMapOvr>
  <p:transition>
    <p:cut/>
  </p:transition>
  <p:timing/>
</p:sld>
</file>

<file path=ppt/slides/slide30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3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3.3 Namibia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3.3.1 Opuwo</a:t>
            </a:r>
          </a:p>
          <a:p>
            <a:r>
              <a:t>3.3.2 Eenhana</a:t>
            </a:r>
          </a:p>
          <a:p>
            <a:r>
              <a:t>3.3.3 Gobabis</a:t>
            </a:r>
          </a:p>
          <a:p>
            <a:r>
              <a:t>3.3.4 Outapi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3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3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3.4 Comoros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3.4.1 Moroni</a:t>
            </a:r>
          </a:p>
          <a:p>
            <a:r>
              <a:t>3.4.2 Fomboni</a:t>
            </a:r>
          </a:p>
          <a:p>
            <a:r>
              <a:t>3.4.3 Dzaoudzi</a:t>
            </a:r>
          </a:p>
          <a:p>
            <a:r>
              <a:t>3.4.4 Mayotte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3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35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49605" y="4228465"/>
            <a:ext cx="8502650" cy="413385"/>
          </a:xfrm>
          <a:effectLst/>
        </p:spPr>
        <p:txBody>
          <a:bodyPr/>
          <a:lstStyle/>
          <a:p>
            <a:r>
              <a:t>4. Oceania</a:t>
            </a:r>
          </a:p>
        </p:txBody>
      </p:sp>
      <p:sp>
        <p:nvSpPr>
          <p:cNvPr id="3368966" name="Rectangle 6"/>
          <p:cNvSpPr>
            <a:spLocks noGrp="1" noChangeArrowheads="1"/>
          </p:cNvSpPr>
          <p:nvPr>
            <p:ph type="subTitle" sz="quarter" idx="1"/>
          </p:nvPr>
        </p:nvSpPr>
        <p:spPr>
          <a:effectLst/>
        </p:spPr>
        <p:txBody>
          <a:bodyPr>
            <a:noAutofit/>
          </a:bodyPr>
          <a:lstStyle/>
          <a:p>
            <a:r>
              <a:rPr lang="en-US" smtClean="0">
                <a:effectLst/>
              </a:rPr>
              <a:t> </a:t>
            </a:r>
            <a:endParaRPr lang="de-DE">
              <a:effectLst/>
            </a:endParaRPr>
          </a:p>
        </p:txBody>
      </p:sp>
      <p:pic>
        <p:nvPicPr>
          <p:cNvPr id="336896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558"/>
            <a:ext cx="9905997" cy="402266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>
</file>

<file path=ppt/slides/slide36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rPr lang="de-DE" smtClean="0">
                <a:effectLst/>
              </a:rPr>
              <a:t>Inhalt</a:t>
            </a:r>
            <a:endParaRPr lang="de-DE">
              <a:effectLst/>
            </a:endParaRPr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503938" cy="4855000"/>
          </a:xfrm>
          <a:effectLst/>
        </p:spPr>
        <p:txBody>
          <a:bodyPr/>
          <a:lstStyle/>
          <a:p>
            <a:pPr>
              <a:spcBef>
                <a:spcPts val="700"/>
              </a:spcBef>
            </a:pPr>
            <a:r>
              <a:t>4. Oceania</a:t>
            </a:r>
          </a:p>
          <a:p>
            <a:pPr defTabSz="719455">
              <a:spcBef>
                <a:spcPts val="700"/>
              </a:spcBef>
            </a:pPr>
            <a:r>
              <a:t>4.1 Australia</a:t>
            </a:r>
          </a:p>
          <a:p>
            <a:pPr defTabSz="719455">
              <a:spcBef>
                <a:spcPts val="700"/>
              </a:spcBef>
            </a:pPr>
            <a:r>
              <a:t>4.2 New Zealand</a:t>
            </a:r>
          </a:p>
          <a:p>
            <a:pPr defTabSz="719455">
              <a:spcBef>
                <a:spcPts val="700"/>
              </a:spcBef>
            </a:pPr>
            <a:r>
              <a:t>4.3 Nauru</a:t>
            </a:r>
          </a:p>
          <a:p>
            <a:pPr defTabSz="719455">
              <a:spcBef>
                <a:spcPts val="700"/>
              </a:spcBef>
            </a:pPr>
            <a:r>
              <a:t>4.4 Tuvalu</a:t>
            </a: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  <a:endParaRPr lang="de-DE" smtClean="0">
              <a:effectLst/>
            </a:endParaRPr>
          </a:p>
        </p:txBody>
      </p:sp>
    </p:spTree>
    <p:custDataLst>
      <p:tags r:id="rId3"/>
    </p:custDataLst>
  </p:cSld>
  <p:clrMapOvr>
    <a:masterClrMapping/>
  </p:clrMapOvr>
  <p:transition>
    <p:cut/>
  </p:transition>
  <p:timing/>
</p:sld>
</file>

<file path=ppt/slides/slide37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4.1 Australia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4.1.1 Sydney</a:t>
            </a:r>
          </a:p>
          <a:p>
            <a:r>
              <a:t>4.1.2 Melbourne</a:t>
            </a:r>
          </a:p>
          <a:p>
            <a:r>
              <a:t>4.1.3 Brisbane</a:t>
            </a:r>
          </a:p>
          <a:p>
            <a:r>
              <a:t>4.1.4 Perth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38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39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4.2 New Zealand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4.2.1 Auckland</a:t>
            </a:r>
          </a:p>
          <a:p>
            <a:r>
              <a:t>4.2.2 Wellington</a:t>
            </a:r>
          </a:p>
          <a:p>
            <a:r>
              <a:t>4.2.3 Christchurch</a:t>
            </a:r>
          </a:p>
          <a:p>
            <a:r>
              <a:t>4.2.4 Hamilton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2"/>
          <p:cNvSpPr txBox="1"/>
          <p:nvPr/>
        </p:nvSpPr>
        <p:spPr>
          <a:xfrm>
            <a:off x="5182359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635000" y="1270000"/>
          <a:ext cx="4445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  <p:graphicFrame>
        <p:nvGraphicFramePr>
          <p:cNvPr id="5" name="ChartObject"/>
          <p:cNvGraphicFramePr/>
          <p:nvPr/>
        </p:nvGraphicFramePr>
        <p:xfrm>
          <a:off x="5334000" y="1270000"/>
          <a:ext cx="4445000" cy="4445000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</p:spTree>
  </p:cSld>
  <p:clrMapOvr>
    <a:masterClrMapping/>
  </p:clrMapOvr>
  <p:transition>
    <p:cut/>
  </p:transition>
  <p:timing/>
</p:sld>
</file>

<file path=ppt/slides/slide40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4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4.3 Nauru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4.3.1 Aiwo</a:t>
            </a:r>
          </a:p>
          <a:p>
            <a:r>
              <a:t>4.3.2 Ewa</a:t>
            </a:r>
          </a:p>
          <a:p>
            <a:r>
              <a:t>4.3.3 Yaren</a:t>
            </a:r>
          </a:p>
          <a:p>
            <a:r>
              <a:t>4.3.4 Ijuw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4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4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4.4 Tuvalu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4.4.1 Nui</a:t>
            </a:r>
          </a:p>
          <a:p>
            <a:r>
              <a:t>4.4.2 Nukufetau</a:t>
            </a:r>
          </a:p>
          <a:p>
            <a:r>
              <a:t>4.4.3 Vaitupu</a:t>
            </a:r>
          </a:p>
          <a:p>
            <a:r>
              <a:t>4.4.4 Niutao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4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5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49605" y="4228465"/>
            <a:ext cx="8502650" cy="413385"/>
          </a:xfrm>
          <a:effectLst/>
        </p:spPr>
        <p:txBody>
          <a:bodyPr/>
          <a:lstStyle/>
          <a:p>
            <a:r>
              <a:t>1. Europe</a:t>
            </a:r>
          </a:p>
        </p:txBody>
      </p:sp>
      <p:sp>
        <p:nvSpPr>
          <p:cNvPr id="3368966" name="Rectangle 6"/>
          <p:cNvSpPr>
            <a:spLocks noGrp="1" noChangeArrowheads="1"/>
          </p:cNvSpPr>
          <p:nvPr>
            <p:ph type="subTitle" sz="quarter" idx="1"/>
          </p:nvPr>
        </p:nvSpPr>
        <p:spPr>
          <a:effectLst/>
        </p:spPr>
        <p:txBody>
          <a:bodyPr>
            <a:noAutofit/>
          </a:bodyPr>
          <a:lstStyle/>
          <a:p>
            <a:r>
              <a:rPr lang="en-US" smtClean="0">
                <a:effectLst/>
              </a:rPr>
              <a:t> </a:t>
            </a:r>
            <a:endParaRPr lang="de-DE">
              <a:effectLst/>
            </a:endParaRPr>
          </a:p>
        </p:txBody>
      </p:sp>
      <p:pic>
        <p:nvPicPr>
          <p:cNvPr id="336896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" y="558"/>
            <a:ext cx="9905997" cy="402266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4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/>
</p:sld>
</file>

<file path=ppt/slides/slide6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369986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rPr lang="de-DE" smtClean="0">
                <a:effectLst/>
              </a:rPr>
              <a:t>Inhalt</a:t>
            </a:r>
            <a:endParaRPr lang="de-DE">
              <a:effectLst/>
            </a:endParaRPr>
          </a:p>
        </p:txBody>
      </p:sp>
      <p:sp>
        <p:nvSpPr>
          <p:cNvPr id="3370003" name="Rectangle 19"/>
          <p:cNvSpPr>
            <a:spLocks noGrp="1" noChangeArrowheads="1"/>
          </p:cNvSpPr>
          <p:nvPr>
            <p:ph idx="1"/>
          </p:nvPr>
        </p:nvSpPr>
        <p:spPr>
          <a:xfrm>
            <a:off x="632520" y="980728"/>
            <a:ext cx="8503938" cy="4855000"/>
          </a:xfrm>
          <a:effectLst/>
        </p:spPr>
        <p:txBody>
          <a:bodyPr/>
          <a:lstStyle/>
          <a:p>
            <a:pPr>
              <a:spcBef>
                <a:spcPts val="700"/>
              </a:spcBef>
            </a:pPr>
            <a:r>
              <a:t>1. Europe</a:t>
            </a:r>
          </a:p>
          <a:p>
            <a:pPr defTabSz="719455">
              <a:spcBef>
                <a:spcPts val="700"/>
              </a:spcBef>
            </a:pPr>
            <a:r>
              <a:t>1.1 Finnland</a:t>
            </a:r>
          </a:p>
          <a:p>
            <a:pPr defTabSz="719455">
              <a:spcBef>
                <a:spcPts val="700"/>
              </a:spcBef>
            </a:pPr>
            <a:r>
              <a:t>1.2 French</a:t>
            </a:r>
          </a:p>
          <a:p>
            <a:pPr defTabSz="719455">
              <a:spcBef>
                <a:spcPts val="700"/>
              </a:spcBef>
            </a:pPr>
            <a:r>
              <a:t>1.3 England</a:t>
            </a:r>
          </a:p>
          <a:p>
            <a:pPr defTabSz="719455">
              <a:spcBef>
                <a:spcPts val="700"/>
              </a:spcBef>
            </a:pPr>
            <a:r>
              <a:t>1.4 German</a:t>
            </a: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</a:p>
          <a:p>
            <a:pPr defTabSz="719455">
              <a:spcBef>
                <a:spcPts val="700"/>
              </a:spcBef>
            </a:pPr>
            <a:endParaRPr lang="de-DE" smtClean="0">
              <a:effectLst/>
            </a:endParaRPr>
          </a:p>
        </p:txBody>
      </p:sp>
    </p:spTree>
    <p:custDataLst>
      <p:tags r:id="rId3"/>
    </p:custDataLst>
  </p:cSld>
  <p:clrMapOvr>
    <a:masterClrMapping/>
  </p:clrMapOvr>
  <p:transition>
    <p:cut/>
  </p:transition>
  <p:timing/>
</p:sld>
</file>

<file path=ppt/slides/slide7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1.1 Finnland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1.1.1 Kajaani</a:t>
            </a:r>
          </a:p>
          <a:p>
            <a:r>
              <a:t>1.1.2 Imatra</a:t>
            </a:r>
          </a:p>
          <a:p>
            <a:r>
              <a:t>1.1.3 Hanko</a:t>
            </a:r>
          </a:p>
          <a:p>
            <a:r>
              <a:t>1.1.4 Ikaalinen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slides/slide8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2" name="Textfeld 1"/>
          <p:cNvSpPr txBox="1"/>
          <p:nvPr/>
        </p:nvSpPr>
        <p:spPr>
          <a:xfrm>
            <a:off x="76048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/>
        </p:txBody>
      </p:sp>
      <p:sp>
        <p:nvSpPr>
          <p:cNvPr id="3" name="Textfeld 1"/>
          <p:cNvSpPr txBox="1"/>
          <p:nvPr/>
        </p:nvSpPr>
        <p:spPr>
          <a:xfrm>
            <a:off x="4874016" y="1700808"/>
            <a:ext cx="3744416" cy="9144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/>
            <a:endParaRPr lang="en-US" altLang="de-DE" sz="1400" smtClean="0">
              <a:effectLst/>
              <a:latin typeface="VW Text Office" panose="020b0504040200000003" pitchFamily="34" charset="0"/>
            </a:endParaRPr>
          </a:p>
        </p:txBody>
      </p:sp>
      <p:graphicFrame>
        <p:nvGraphicFramePr>
          <p:cNvPr id="4" name="ChartObject"/>
          <p:cNvGraphicFramePr/>
          <p:nvPr/>
        </p:nvGraphicFramePr>
        <p:xfrm>
          <a:off x="2540000" y="1270000"/>
          <a:ext cx="5080000" cy="4445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  <p:transition>
    <p:cut/>
  </p:transition>
  <p:timing/>
</p:sld>
</file>

<file path=ppt/slides/slide9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  <a:effectLst/>
      </p:grpSpPr>
      <p:sp>
        <p:nvSpPr>
          <p:cNvPr id="3698690" name="Rectangle 2"/>
          <p:cNvSpPr>
            <a:spLocks noGrp="1" noChangeArrowheads="1"/>
          </p:cNvSpPr>
          <p:nvPr>
            <p:ph type="title"/>
          </p:nvPr>
        </p:nvSpPr>
        <p:spPr>
          <a:xfrm>
            <a:off x="648000" y="287338"/>
            <a:ext cx="8503938" cy="900112"/>
          </a:xfrm>
          <a:effectLst/>
        </p:spPr>
        <p:txBody>
          <a:bodyPr/>
          <a:lstStyle/>
          <a:p>
            <a:r>
              <a:t>1.2 French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48000" y="1368000"/>
            <a:ext cx="8122938" cy="4855000"/>
          </a:xfrm>
          <a:effectLst/>
        </p:spPr>
        <p:txBody>
          <a:bodyPr/>
          <a:lstStyle/>
          <a:p>
            <a:r>
              <a:t>1.2.1 Paris</a:t>
            </a:r>
          </a:p>
          <a:p>
            <a:r>
              <a:t>1.2.2 Marseille</a:t>
            </a:r>
          </a:p>
          <a:p>
            <a:r>
              <a:t>1.2.3 Toulouse</a:t>
            </a:r>
          </a:p>
          <a:p>
            <a:r>
              <a:t>1.2.4 Nantes</a:t>
            </a:r>
          </a:p>
          <a:p/>
          <a:p/>
          <a:p/>
          <a:p/>
          <a:p/>
          <a:p/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de-DE" smtClean="0">
              <a:effectLst/>
            </a:endParaRPr>
          </a:p>
          <a:p>
            <a:endParaRPr lang="de-DE">
              <a:effectLst/>
            </a:endParaRPr>
          </a:p>
          <a:p>
            <a:endParaRPr lang="en-US">
              <a:effectLst/>
            </a:endParaRPr>
          </a:p>
        </p:txBody>
      </p:sp>
    </p:spTree>
    <p:custDataLst>
      <p:tags r:id="rId2"/>
    </p:custDataLst>
  </p:cSld>
  <p:clrMapOvr>
    <a:masterClrMapping/>
  </p:clrMapOvr>
  <p:transition>
    <p:cut/>
  </p:transition>
  <p:timing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11.xml><?xml version="1.0" encoding="utf-8"?>
<p:tagLst xmlns:p="http://schemas.openxmlformats.org/presentationml/2006/main">
  <p:tag name="NAME" val="v_425"/>
  <p:tag name="POOL" val="Visual"/>
</p:tagLst>
</file>

<file path=ppt/tags/tag12.xml><?xml version="1.0" encoding="utf-8"?>
<p:tagLst xmlns:p="http://schemas.openxmlformats.org/presentationml/2006/main">
  <p:tag name="CATEGORY" val="Standard"/>
  <p:tag name="NAME" val="v_502"/>
  <p:tag name="POOL" val="Visual"/>
</p:tagLst>
</file>

<file path=ppt/tags/tag13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14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15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16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17.xml><?xml version="1.0" encoding="utf-8"?>
<p:tagLst xmlns:p="http://schemas.openxmlformats.org/presentationml/2006/main">
  <p:tag name="NAME" val="v_425"/>
  <p:tag name="POOL" val="Visual"/>
</p:tagLst>
</file>

<file path=ppt/tags/tag18.xml><?xml version="1.0" encoding="utf-8"?>
<p:tagLst xmlns:p="http://schemas.openxmlformats.org/presentationml/2006/main">
  <p:tag name="CATEGORY" val="Standard"/>
  <p:tag name="NAME" val="v_502"/>
  <p:tag name="POOL" val="Visual"/>
</p:tagLst>
</file>

<file path=ppt/tags/tag19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1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2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3.xml><?xml version="1.0" encoding="utf-8"?>
<p:tagLst xmlns:p="http://schemas.openxmlformats.org/presentationml/2006/main">
  <p:tag name="NAME" val="v_425"/>
  <p:tag name="POOL" val="Visual"/>
</p:tagLst>
</file>

<file path=ppt/tags/tag24.xml><?xml version="1.0" encoding="utf-8"?>
<p:tagLst xmlns:p="http://schemas.openxmlformats.org/presentationml/2006/main">
  <p:tag name="CATEGORY" val="Standard"/>
  <p:tag name="NAME" val="v_502"/>
  <p:tag name="POOL" val="Visual"/>
</p:tagLst>
</file>

<file path=ppt/tags/tag25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6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7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8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29.xml><?xml version="1.0" encoding="utf-8"?>
<p:tagLst xmlns:p="http://schemas.openxmlformats.org/presentationml/2006/main">
  <p:tag name="AS_NET" val="4.0.30319.42000"/>
  <p:tag name="AS_OS" val="Microsoft Windows NT 6.1.7601 Service Pack 1"/>
  <p:tag name="AS_RELEASE_DATE" val="2015.01.30"/>
  <p:tag name="AS_TITLE" val="Aspose.Slides for .NET 4.0"/>
  <p:tag name="AS_VERSION" val="15.1.0.0"/>
</p:tagLst>
</file>

<file path=ppt/tags/tag3.xml><?xml version="1.0" encoding="utf-8"?>
<p:tagLst xmlns:p="http://schemas.openxmlformats.org/presentationml/2006/main">
  <p:tag name="NAME" val="v_422"/>
  <p:tag name="POOL" val="Visual"/>
</p:tagLst>
</file>

<file path=ppt/tags/tag4.xml><?xml version="1.0" encoding="utf-8"?>
<p:tagLst xmlns:p="http://schemas.openxmlformats.org/presentationml/2006/main">
  <p:tag name="CATEGORY" val="Standard"/>
  <p:tag name="NAME" val="v_502"/>
  <p:tag name="POOL" val="Visual"/>
</p:tagLst>
</file>

<file path=ppt/tags/tag5.xml><?xml version="1.0" encoding="utf-8"?>
<p:tagLst xmlns:p="http://schemas.openxmlformats.org/presentationml/2006/main">
  <p:tag name="NAME" val="v_425"/>
  <p:tag name="POOL" val="Visual"/>
</p:tagLst>
</file>

<file path=ppt/tags/tag6.xml><?xml version="1.0" encoding="utf-8"?>
<p:tagLst xmlns:p="http://schemas.openxmlformats.org/presentationml/2006/main">
  <p:tag name="CATEGORY" val="Standard"/>
  <p:tag name="NAME" val="v_502"/>
  <p:tag name="POOL" val="Visual"/>
</p:tagLst>
</file>

<file path=ppt/tags/tag7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8.xml><?xml version="1.0" encoding="utf-8"?>
<p:tagLst xmlns:p="http://schemas.openxmlformats.org/presentationml/2006/main">
  <p:tag name="CATEGORY" val="Standard"/>
  <p:tag name="NAME" val="v_557"/>
  <p:tag name="POOL" val="Visual"/>
</p:tagLst>
</file>

<file path=ppt/tags/tag9.xml><?xml version="1.0" encoding="utf-8"?>
<p:tagLst xmlns:p="http://schemas.openxmlformats.org/presentationml/2006/main">
  <p:tag name="CATEGORY" val="Standard"/>
  <p:tag name="NAME" val="v_557"/>
  <p:tag name="POOL" val="Visual"/>
</p:tagLst>
</file>

<file path=ppt/theme/theme1.xml><?xml version="1.0" encoding="utf-8"?>
<a:theme xmlns:r="http://schemas.openxmlformats.org/officeDocument/2006/relationships" xmlns:a="http://schemas.openxmlformats.org/drawingml/2006/main" name="VW_Instruction_de">
  <a:themeElements>
    <a:clrScheme name="Volkswagen">
      <a:dk1>
        <a:srgbClr val="33434C"/>
      </a:dk1>
      <a:lt1>
        <a:srgbClr val="FFFFFF"/>
      </a:lt1>
      <a:dk2>
        <a:srgbClr val="73B1DD"/>
      </a:dk2>
      <a:lt2>
        <a:srgbClr val="CFD7D9"/>
      </a:lt2>
      <a:accent1>
        <a:srgbClr val="003C65"/>
      </a:accent1>
      <a:accent2>
        <a:srgbClr val="2274AC"/>
      </a:accent2>
      <a:accent3>
        <a:srgbClr val="8994A0"/>
      </a:accent3>
      <a:accent4>
        <a:srgbClr val="005D4D"/>
      </a:accent4>
      <a:accent5>
        <a:srgbClr val="730019"/>
      </a:accent5>
      <a:accent6>
        <a:srgbClr val="FF871F"/>
      </a:accent6>
      <a:hlink>
        <a:srgbClr val="33434C"/>
      </a:hlink>
      <a:folHlink>
        <a:srgbClr val="8994A0"/>
      </a:folHlink>
    </a:clrScheme>
    <a:fontScheme name="Benutzerdefiniert 9">
      <a:majorFont>
        <a:latin typeface="VW Head Office"/>
        <a:ea typeface="Arial"/>
        <a:cs typeface="Arial"/>
      </a:majorFont>
      <a:minorFont>
        <a:latin typeface="VW Text Office"/>
        <a:ea typeface="Arial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smtClean="0">
            <a:latin typeface="VW Text Office" panose="020B05040402000000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latin typeface="VW Text Office" panose="020B0504040200000003" pitchFamily="34" charset="0"/>
          </a:defRPr>
        </a:defPPr>
      </a:lstStyle>
    </a:txDef>
  </a:objectDefaults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r="http://schemas.openxmlformats.org/officeDocument/2006/relationships"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r="http://schemas.openxmlformats.org/officeDocument/2006/relationships"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>
  <Template>VW_Instruction_de</Template>
  <Manager/>
  <Company/>
  <PresentationFormat>A4 纸张(210x297 毫米)</PresentationFormat>
  <SharedDoc>0</SharedDoc>
  <Application>Microsoft Office PowerPoint</Application>
  <AppVersion>14.00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cp:revision>42</cp:revision>
  <dcterms:created xsi:type="dcterms:W3CDTF">2017-01-10T07:00:00Z</dcterms:created>
  <dcterms:modified xsi:type="dcterms:W3CDTF">2018-06-20T02:20:34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Jive_LatestUserAccountName">
    <vt:lpwstr>ESCHALJ</vt:lpwstr>
  </property>
  <property fmtid="{D5CDD505-2E9C-101B-9397-08002B2CF9AE}" pid="3" name="Jive_VersionGuid">
    <vt:lpwstr>4ce2a144-859d-4dd4-b55f-57a476695766</vt:lpwstr>
  </property>
  <property fmtid="{D5CDD505-2E9C-101B-9397-08002B2CF9AE}" pid="4" name="KSOProductBuildVer">
    <vt:lpwstr>2052-10.1.0.7346</vt:lpwstr>
  </property>
  <property fmtid="{D5CDD505-2E9C-101B-9397-08002B2CF9AE}" pid="5" name="Offisync_ProviderInitializationData">
    <vt:lpwstr>https://soco.volkswagen.com/sbc</vt:lpwstr>
  </property>
  <property fmtid="{D5CDD505-2E9C-101B-9397-08002B2CF9AE}" pid="6" name="Offisync_ServerID">
    <vt:lpwstr>985186ff-b6ff-4bff-b83f-b7255bce53e0</vt:lpwstr>
  </property>
  <property fmtid="{D5CDD505-2E9C-101B-9397-08002B2CF9AE}" pid="7" name="Offisync_UniqueId">
    <vt:lpwstr>37709</vt:lpwstr>
  </property>
  <property fmtid="{D5CDD505-2E9C-101B-9397-08002B2CF9AE}" pid="8" name="Offisync_UpdateToken">
    <vt:lpwstr>1</vt:lpwstr>
  </property>
</Properties>
</file>